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  <p:sldMasterId id="2147483656" r:id="rId2"/>
  </p:sldMasterIdLst>
  <p:notesMasterIdLst>
    <p:notesMasterId r:id="rId11"/>
  </p:notesMasterIdLst>
  <p:sldIdLst>
    <p:sldId id="256" r:id="rId3"/>
    <p:sldId id="257" r:id="rId4"/>
    <p:sldId id="258" r:id="rId5"/>
    <p:sldId id="259" r:id="rId6"/>
    <p:sldId id="260" r:id="rId7"/>
    <p:sldId id="271" r:id="rId8"/>
    <p:sldId id="262" r:id="rId9"/>
    <p:sldId id="270" r:id="rId10"/>
  </p:sldIdLst>
  <p:sldSz cx="12192000" cy="6858000"/>
  <p:notesSz cx="6858000" cy="9144000"/>
  <p:embeddedFontLst>
    <p:embeddedFont>
      <p:font typeface="Calibri" pitchFamily="34" charset="0"/>
      <p:regular r:id="rId12"/>
      <p:bold r:id="rId13"/>
      <p:italic r:id="rId14"/>
      <p:boldItalic r:id="rId15"/>
    </p:embeddedFont>
    <p:embeddedFont>
      <p:font typeface="方正兰亭超细黑简体" pitchFamily="2" charset="-122"/>
      <p:regular r:id="rId16"/>
    </p:embeddedFont>
    <p:embeddedFont>
      <p:font typeface="微软雅黑" pitchFamily="34" charset="-122"/>
      <p:regular r:id="rId17"/>
      <p:bold r:id="rId18"/>
    </p:embeddedFont>
    <p:embeddedFont>
      <p:font typeface="Calibri Light" charset="0"/>
      <p:regular r:id="rId19"/>
      <p:italic r:id="rId20"/>
    </p:embeddedFont>
  </p:embeddedFont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205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4C0B1"/>
    <a:srgbClr val="75DDC9"/>
    <a:srgbClr val="AEEADF"/>
    <a:srgbClr val="D7F5EF"/>
    <a:srgbClr val="ACEADE"/>
    <a:srgbClr val="AFDFD7"/>
    <a:srgbClr val="C3EFE7"/>
    <a:srgbClr val="E7F9F6"/>
    <a:srgbClr val="AA89EB"/>
    <a:srgbClr val="96D4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578" autoAdjust="0"/>
    <p:restoredTop sz="94660"/>
  </p:normalViewPr>
  <p:slideViewPr>
    <p:cSldViewPr snapToGrid="0" showGuides="1">
      <p:cViewPr varScale="1">
        <p:scale>
          <a:sx n="114" d="100"/>
          <a:sy n="114" d="100"/>
        </p:scale>
        <p:origin x="-660" y="-108"/>
      </p:cViewPr>
      <p:guideLst>
        <p:guide orient="horz" pos="2205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6" d="100"/>
          <a:sy n="86" d="100"/>
        </p:scale>
        <p:origin x="-3834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font" Target="fonts/font2.fntdata"/><Relationship Id="rId18" Type="http://schemas.openxmlformats.org/officeDocument/2006/relationships/font" Target="fonts/font7.fntdata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" Type="http://schemas.openxmlformats.org/officeDocument/2006/relationships/slideMaster" Target="slideMasters/slideMaster2.xml"/><Relationship Id="rId16" Type="http://schemas.openxmlformats.org/officeDocument/2006/relationships/font" Target="fonts/font5.fntdata"/><Relationship Id="rId20" Type="http://schemas.openxmlformats.org/officeDocument/2006/relationships/font" Target="fonts/font9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font" Target="fonts/font4.fntdata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font" Target="fonts/font8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font" Target="fonts/font3.fntdata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image" Target="../media/image6.png"/><Relationship Id="rId4" Type="http://schemas.openxmlformats.org/officeDocument/2006/relationships/image" Target="../media/image9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7BFE53-7199-4D96-9108-C39DF677C7C2}" type="datetimeFigureOut">
              <a:rPr lang="zh-CN" altLang="en-US" smtClean="0"/>
              <a:t>2016/3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673C14-870C-47CB-BBB1-47891D8FAE6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21715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673C14-870C-47CB-BBB1-47891D8FAE61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793240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E2B7F8-CC84-4CFD-9DD4-621DAF3E2CAE}" type="datetimeFigureOut">
              <a:rPr lang="zh-CN" altLang="en-US" smtClean="0"/>
              <a:t>2016/3/13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5D42C9-83D0-4872-9E89-437541D9F63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782276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844814579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7957082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832851" y="115889"/>
            <a:ext cx="2734733" cy="623887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4418" y="115889"/>
            <a:ext cx="8005233" cy="623887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12908214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0134" name="Picture 6" descr="1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419409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0053335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143328244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4418" y="981075"/>
            <a:ext cx="5369983" cy="53736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7600" y="981075"/>
            <a:ext cx="5369984" cy="53736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0337138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3595910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730707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886966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20010716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E2B7F8-CC84-4CFD-9DD4-621DAF3E2CAE}" type="datetimeFigureOut">
              <a:rPr lang="zh-CN" altLang="en-US" smtClean="0"/>
              <a:t>2016/3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5D42C9-83D0-4872-9E89-437541D9F63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51555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9106" name="Picture 2" descr="2-2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</p:spPr>
      </p:pic>
      <p:sp>
        <p:nvSpPr>
          <p:cNvPr id="55910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24418" y="115889"/>
            <a:ext cx="10943167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标题文本样式：微软雅黑</a:t>
            </a:r>
            <a:r>
              <a:rPr lang="en-US" altLang="zh-CN" smtClean="0"/>
              <a:t>/28</a:t>
            </a:r>
            <a:r>
              <a:rPr lang="zh-CN" altLang="en-US" smtClean="0"/>
              <a:t>号  </a:t>
            </a:r>
            <a:r>
              <a:rPr lang="en-US" altLang="zh-CN" smtClean="0"/>
              <a:t>Arial/28pt</a:t>
            </a:r>
          </a:p>
        </p:txBody>
      </p:sp>
      <p:sp>
        <p:nvSpPr>
          <p:cNvPr id="55910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4418" y="981075"/>
            <a:ext cx="10943167" cy="537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第一级内容文本样式：微软雅黑</a:t>
            </a:r>
            <a:r>
              <a:rPr lang="en-US" altLang="zh-CN" smtClean="0"/>
              <a:t>/20</a:t>
            </a:r>
            <a:r>
              <a:rPr lang="zh-CN" altLang="en-US" smtClean="0"/>
              <a:t>号  </a:t>
            </a:r>
            <a:r>
              <a:rPr lang="en-US" altLang="zh-CN" smtClean="0"/>
              <a:t>Arial/20pt</a:t>
            </a:r>
          </a:p>
          <a:p>
            <a:pPr lvl="1"/>
            <a:r>
              <a:rPr lang="zh-CN" altLang="en-US" smtClean="0"/>
              <a:t>第二级内容文本样式：微软雅黑</a:t>
            </a:r>
            <a:r>
              <a:rPr lang="en-US" altLang="zh-CN" smtClean="0"/>
              <a:t>/18</a:t>
            </a:r>
            <a:r>
              <a:rPr lang="zh-CN" altLang="en-US" smtClean="0"/>
              <a:t>号  </a:t>
            </a:r>
            <a:r>
              <a:rPr lang="en-US" altLang="zh-CN" smtClean="0"/>
              <a:t>Arial/18pt</a:t>
            </a:r>
          </a:p>
          <a:p>
            <a:pPr lvl="2"/>
            <a:r>
              <a:rPr lang="zh-CN" altLang="en-US" smtClean="0"/>
              <a:t>第三级内容文本样式：微软雅黑</a:t>
            </a:r>
            <a:r>
              <a:rPr lang="en-US" altLang="zh-CN" smtClean="0"/>
              <a:t>/16</a:t>
            </a:r>
            <a:r>
              <a:rPr lang="zh-CN" altLang="en-US" smtClean="0"/>
              <a:t>号  </a:t>
            </a:r>
            <a:r>
              <a:rPr lang="en-US" altLang="zh-CN" smtClean="0"/>
              <a:t>Arial/16pt</a:t>
            </a:r>
          </a:p>
          <a:p>
            <a:pPr lvl="3"/>
            <a:r>
              <a:rPr lang="zh-CN" altLang="en-US" smtClean="0"/>
              <a:t>第四级内容文本样式：微软雅黑</a:t>
            </a:r>
            <a:r>
              <a:rPr lang="en-US" altLang="zh-CN" smtClean="0"/>
              <a:t>/14</a:t>
            </a:r>
            <a:r>
              <a:rPr lang="zh-CN" altLang="en-US" smtClean="0"/>
              <a:t>号  </a:t>
            </a:r>
            <a:r>
              <a:rPr lang="en-US" altLang="zh-CN" smtClean="0"/>
              <a:t>Arial/14pt</a:t>
            </a:r>
          </a:p>
          <a:p>
            <a:pPr lvl="4"/>
            <a:r>
              <a:rPr lang="zh-CN" altLang="en-US" smtClean="0"/>
              <a:t>第五级内容文本样式：微软雅黑</a:t>
            </a:r>
            <a:r>
              <a:rPr lang="en-US" altLang="zh-CN" smtClean="0"/>
              <a:t>/12</a:t>
            </a:r>
            <a:r>
              <a:rPr lang="zh-CN" altLang="en-US" smtClean="0"/>
              <a:t>号  </a:t>
            </a:r>
            <a:r>
              <a:rPr lang="en-US" altLang="zh-CN" smtClean="0"/>
              <a:t>Arial/12pt</a:t>
            </a:r>
          </a:p>
        </p:txBody>
      </p:sp>
    </p:spTree>
    <p:extLst>
      <p:ext uri="{BB962C8B-B14F-4D97-AF65-F5344CB8AC3E}">
        <p14:creationId xmlns:p14="http://schemas.microsoft.com/office/powerpoint/2010/main" val="792388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0" r:id="rId4"/>
    <p:sldLayoutId id="2147483661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微软雅黑" pitchFamily="34" charset="-122"/>
          <a:cs typeface="宋体" charset="-122"/>
        </a:defRPr>
      </a:lvl2pPr>
      <a:lvl3pPr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微软雅黑" pitchFamily="34" charset="-122"/>
          <a:cs typeface="宋体" charset="-122"/>
        </a:defRPr>
      </a:lvl3pPr>
      <a:lvl4pPr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微软雅黑" pitchFamily="34" charset="-122"/>
          <a:cs typeface="宋体" charset="-122"/>
        </a:defRPr>
      </a:lvl4pPr>
      <a:lvl5pPr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微软雅黑" pitchFamily="34" charset="-122"/>
          <a:cs typeface="宋体" charset="-122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微软雅黑" pitchFamily="34" charset="-122"/>
          <a:cs typeface="宋体" charset="-122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微软雅黑" pitchFamily="34" charset="-122"/>
          <a:cs typeface="宋体" charset="-122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微软雅黑" pitchFamily="34" charset="-122"/>
          <a:cs typeface="宋体" charset="-122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微软雅黑" pitchFamily="34" charset="-122"/>
          <a:cs typeface="宋体" charset="-122"/>
        </a:defRPr>
      </a:lvl9pPr>
    </p:titleStyle>
    <p:bodyStyle>
      <a:lvl1pPr marL="180975" indent="-180975" algn="l" rtl="0" fontAlgn="ctr">
        <a:lnSpc>
          <a:spcPct val="120000"/>
        </a:lnSpc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itchFamily="2" charset="2"/>
        <a:buChar char="l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541338" indent="-180975" algn="l" rtl="0" fontAlgn="ctr">
        <a:lnSpc>
          <a:spcPct val="120000"/>
        </a:lnSpc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itchFamily="2" charset="2"/>
        <a:buChar char="l"/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895350" indent="-174625" algn="l" rtl="0" fontAlgn="ctr">
        <a:lnSpc>
          <a:spcPct val="120000"/>
        </a:lnSpc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itchFamily="2" charset="2"/>
        <a:buChar char="l"/>
        <a:defRPr sz="1600">
          <a:solidFill>
            <a:schemeClr val="tx1"/>
          </a:solidFill>
          <a:latin typeface="+mn-lt"/>
          <a:ea typeface="+mn-ea"/>
          <a:cs typeface="+mn-cs"/>
        </a:defRPr>
      </a:lvl3pPr>
      <a:lvl4pPr marL="1255713" indent="-180975" algn="l" rtl="0" fontAlgn="ctr">
        <a:lnSpc>
          <a:spcPct val="120000"/>
        </a:lnSpc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itchFamily="2" charset="2"/>
        <a:buChar char="l"/>
        <a:defRPr sz="1400">
          <a:solidFill>
            <a:schemeClr val="tx1"/>
          </a:solidFill>
          <a:latin typeface="+mn-lt"/>
          <a:ea typeface="+mn-ea"/>
          <a:cs typeface="+mn-cs"/>
        </a:defRPr>
      </a:lvl4pPr>
      <a:lvl5pPr marL="1619250" indent="-184150" algn="l" rtl="0" fontAlgn="ctr">
        <a:lnSpc>
          <a:spcPct val="120000"/>
        </a:lnSpc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itchFamily="2" charset="2"/>
        <a:buChar char="l"/>
        <a:defRPr sz="1200">
          <a:solidFill>
            <a:schemeClr val="tx1"/>
          </a:solidFill>
          <a:latin typeface="+mn-lt"/>
          <a:ea typeface="+mn-ea"/>
          <a:cs typeface="+mn-cs"/>
        </a:defRPr>
      </a:lvl5pPr>
      <a:lvl6pPr marL="2076450" indent="-184150" algn="l" rtl="0" fontAlgn="ctr">
        <a:lnSpc>
          <a:spcPct val="120000"/>
        </a:lnSpc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itchFamily="2" charset="2"/>
        <a:buChar char="l"/>
        <a:defRPr sz="1200">
          <a:solidFill>
            <a:schemeClr val="tx1"/>
          </a:solidFill>
          <a:latin typeface="+mn-lt"/>
          <a:ea typeface="+mn-ea"/>
          <a:cs typeface="+mn-cs"/>
        </a:defRPr>
      </a:lvl6pPr>
      <a:lvl7pPr marL="2533650" indent="-184150" algn="l" rtl="0" fontAlgn="ctr">
        <a:lnSpc>
          <a:spcPct val="120000"/>
        </a:lnSpc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itchFamily="2" charset="2"/>
        <a:buChar char="l"/>
        <a:defRPr sz="1200">
          <a:solidFill>
            <a:schemeClr val="tx1"/>
          </a:solidFill>
          <a:latin typeface="+mn-lt"/>
          <a:ea typeface="+mn-ea"/>
          <a:cs typeface="+mn-cs"/>
        </a:defRPr>
      </a:lvl7pPr>
      <a:lvl8pPr marL="2990850" indent="-184150" algn="l" rtl="0" fontAlgn="ctr">
        <a:lnSpc>
          <a:spcPct val="120000"/>
        </a:lnSpc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itchFamily="2" charset="2"/>
        <a:buChar char="l"/>
        <a:defRPr sz="1200">
          <a:solidFill>
            <a:schemeClr val="tx1"/>
          </a:solidFill>
          <a:latin typeface="+mn-lt"/>
          <a:ea typeface="+mn-ea"/>
          <a:cs typeface="+mn-cs"/>
        </a:defRPr>
      </a:lvl8pPr>
      <a:lvl9pPr marL="3448050" indent="-184150" algn="l" rtl="0" fontAlgn="ctr">
        <a:lnSpc>
          <a:spcPct val="120000"/>
        </a:lnSpc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itchFamily="2" charset="2"/>
        <a:buChar char="l"/>
        <a:defRPr sz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2.xml"/><Relationship Id="rId18" Type="http://schemas.openxmlformats.org/officeDocument/2006/relationships/slideLayout" Target="../slideLayouts/slideLayout1.xml"/><Relationship Id="rId26" Type="http://schemas.openxmlformats.org/officeDocument/2006/relationships/image" Target="../media/image7.png"/><Relationship Id="rId3" Type="http://schemas.openxmlformats.org/officeDocument/2006/relationships/tags" Target="../tags/tag2.xml"/><Relationship Id="rId21" Type="http://schemas.openxmlformats.org/officeDocument/2006/relationships/image" Target="../media/image11.wmf"/><Relationship Id="rId34" Type="http://schemas.openxmlformats.org/officeDocument/2006/relationships/image" Target="../media/image16.wmf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oleObject" Target="../embeddings/oleObject2.bin"/><Relationship Id="rId33" Type="http://schemas.openxmlformats.org/officeDocument/2006/relationships/image" Target="../media/image15.wmf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image" Target="../media/image3.png"/><Relationship Id="rId29" Type="http://schemas.openxmlformats.org/officeDocument/2006/relationships/oleObject" Target="../embeddings/oleObject4.bin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image" Target="../media/image6.png"/><Relationship Id="rId32" Type="http://schemas.openxmlformats.org/officeDocument/2006/relationships/image" Target="../media/image14.png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oleObject" Target="../embeddings/oleObject1.bin"/><Relationship Id="rId28" Type="http://schemas.openxmlformats.org/officeDocument/2006/relationships/image" Target="../media/image8.png"/><Relationship Id="rId36" Type="http://schemas.openxmlformats.org/officeDocument/2006/relationships/image" Target="../media/image18.png"/><Relationship Id="rId10" Type="http://schemas.openxmlformats.org/officeDocument/2006/relationships/tags" Target="../tags/tag9.xml"/><Relationship Id="rId19" Type="http://schemas.openxmlformats.org/officeDocument/2006/relationships/image" Target="../media/image10.jpg"/><Relationship Id="rId31" Type="http://schemas.openxmlformats.org/officeDocument/2006/relationships/image" Target="../media/image13.png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image" Target="../media/image12.png"/><Relationship Id="rId27" Type="http://schemas.openxmlformats.org/officeDocument/2006/relationships/oleObject" Target="../embeddings/oleObject3.bin"/><Relationship Id="rId30" Type="http://schemas.openxmlformats.org/officeDocument/2006/relationships/image" Target="../media/image9.png"/><Relationship Id="rId35" Type="http://schemas.openxmlformats.org/officeDocument/2006/relationships/image" Target="../media/image17.png"/><Relationship Id="rId8" Type="http://schemas.openxmlformats.org/officeDocument/2006/relationships/tags" Target="../tags/tag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5AF878">
                <a:alpha val="10000"/>
              </a:srgbClr>
            </a:gs>
            <a:gs pos="55000">
              <a:srgbClr val="89CAD2">
                <a:alpha val="30000"/>
              </a:srgbClr>
            </a:gs>
            <a:gs pos="100000">
              <a:srgbClr val="F3C5FB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花1"/>
          <p:cNvGrpSpPr/>
          <p:nvPr/>
        </p:nvGrpSpPr>
        <p:grpSpPr>
          <a:xfrm>
            <a:off x="1859121" y="3546988"/>
            <a:ext cx="8526317" cy="4848472"/>
            <a:chOff x="1859121" y="3429000"/>
            <a:chExt cx="8526317" cy="4848472"/>
          </a:xfrm>
        </p:grpSpPr>
        <p:sp>
          <p:nvSpPr>
            <p:cNvPr id="7" name="任意多边形 6"/>
            <p:cNvSpPr/>
            <p:nvPr/>
          </p:nvSpPr>
          <p:spPr>
            <a:xfrm>
              <a:off x="5088193" y="3429000"/>
              <a:ext cx="2015614" cy="4367958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56600">
                  <a:srgbClr val="ADB5DD">
                    <a:alpha val="35000"/>
                  </a:srgbClr>
                </a:gs>
                <a:gs pos="0">
                  <a:srgbClr val="C1FFEF">
                    <a:alpha val="49804"/>
                  </a:srgbClr>
                </a:gs>
                <a:gs pos="100000">
                  <a:srgbClr val="6E7DC3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任意多边形 8"/>
            <p:cNvSpPr/>
            <p:nvPr/>
          </p:nvSpPr>
          <p:spPr>
            <a:xfrm rot="19862953">
              <a:off x="4038181" y="3686122"/>
              <a:ext cx="2015614" cy="4367958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56600">
                  <a:srgbClr val="ADB5DD">
                    <a:alpha val="35000"/>
                  </a:srgbClr>
                </a:gs>
                <a:gs pos="0">
                  <a:srgbClr val="C1FFEF">
                    <a:alpha val="49804"/>
                  </a:srgbClr>
                </a:gs>
                <a:gs pos="100000">
                  <a:srgbClr val="6E7DC3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任意多边形 9"/>
            <p:cNvSpPr/>
            <p:nvPr/>
          </p:nvSpPr>
          <p:spPr>
            <a:xfrm rot="1791145">
              <a:off x="6081931" y="3648293"/>
              <a:ext cx="2015614" cy="4367958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56600">
                  <a:srgbClr val="ADB5DD">
                    <a:alpha val="35000"/>
                  </a:srgbClr>
                </a:gs>
                <a:gs pos="0">
                  <a:srgbClr val="C1FFEF">
                    <a:alpha val="49804"/>
                  </a:srgbClr>
                </a:gs>
                <a:gs pos="100000">
                  <a:srgbClr val="6E7DC3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任意多边形 10"/>
            <p:cNvSpPr/>
            <p:nvPr/>
          </p:nvSpPr>
          <p:spPr>
            <a:xfrm rot="3361456">
              <a:off x="6916490" y="4377466"/>
              <a:ext cx="2015614" cy="4367958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56600">
                  <a:srgbClr val="ADB5DD">
                    <a:alpha val="35000"/>
                  </a:srgbClr>
                </a:gs>
                <a:gs pos="0">
                  <a:srgbClr val="C1FFEF">
                    <a:alpha val="49804"/>
                  </a:srgbClr>
                </a:gs>
                <a:gs pos="100000">
                  <a:srgbClr val="6E7DC3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任意多边形 11"/>
            <p:cNvSpPr/>
            <p:nvPr/>
          </p:nvSpPr>
          <p:spPr>
            <a:xfrm rot="18029728">
              <a:off x="3346961" y="4377776"/>
              <a:ext cx="2015614" cy="4367958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56600">
                  <a:srgbClr val="ADB5DD">
                    <a:alpha val="35000"/>
                  </a:srgbClr>
                </a:gs>
                <a:gs pos="0">
                  <a:srgbClr val="C1FFEF">
                    <a:alpha val="49804"/>
                  </a:srgbClr>
                </a:gs>
                <a:gs pos="100000">
                  <a:srgbClr val="6E7DC3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任意多边形 12"/>
            <p:cNvSpPr/>
            <p:nvPr/>
          </p:nvSpPr>
          <p:spPr>
            <a:xfrm rot="4636883">
              <a:off x="7193652" y="5085686"/>
              <a:ext cx="2015614" cy="4367958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56600">
                  <a:srgbClr val="ADB5DD">
                    <a:alpha val="35000"/>
                  </a:srgbClr>
                </a:gs>
                <a:gs pos="0">
                  <a:srgbClr val="C1FFEF">
                    <a:alpha val="49804"/>
                  </a:srgbClr>
                </a:gs>
                <a:gs pos="100000">
                  <a:srgbClr val="6E7DC3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任意多边形 13"/>
            <p:cNvSpPr/>
            <p:nvPr/>
          </p:nvSpPr>
          <p:spPr>
            <a:xfrm rot="16978576">
              <a:off x="3035293" y="5077119"/>
              <a:ext cx="2015614" cy="4367958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56600">
                  <a:srgbClr val="ADB5DD">
                    <a:alpha val="35000"/>
                  </a:srgbClr>
                </a:gs>
                <a:gs pos="0">
                  <a:srgbClr val="C1FFEF">
                    <a:alpha val="49804"/>
                  </a:srgbClr>
                </a:gs>
                <a:gs pos="100000">
                  <a:srgbClr val="6E7DC3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5" name="花2"/>
          <p:cNvGrpSpPr/>
          <p:nvPr/>
        </p:nvGrpSpPr>
        <p:grpSpPr>
          <a:xfrm>
            <a:off x="-389727" y="1491439"/>
            <a:ext cx="12996258" cy="7478907"/>
            <a:chOff x="-389727" y="1373451"/>
            <a:chExt cx="12996258" cy="7478907"/>
          </a:xfrm>
        </p:grpSpPr>
        <p:sp>
          <p:nvSpPr>
            <p:cNvPr id="16" name="任意多边形 15"/>
            <p:cNvSpPr/>
            <p:nvPr/>
          </p:nvSpPr>
          <p:spPr>
            <a:xfrm rot="20738027">
              <a:off x="4131678" y="1398019"/>
              <a:ext cx="2319644" cy="6516445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77000">
                  <a:srgbClr val="9FB7DD">
                    <a:alpha val="20000"/>
                  </a:srgbClr>
                </a:gs>
                <a:gs pos="0">
                  <a:srgbClr val="A1DBB3">
                    <a:alpha val="50000"/>
                  </a:srgbClr>
                </a:gs>
                <a:gs pos="100000">
                  <a:srgbClr val="6E7DC3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" name="任意多边形 16"/>
            <p:cNvSpPr/>
            <p:nvPr/>
          </p:nvSpPr>
          <p:spPr>
            <a:xfrm rot="852536">
              <a:off x="5736820" y="1373451"/>
              <a:ext cx="2319644" cy="6516445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77000">
                  <a:srgbClr val="9FB7DD">
                    <a:alpha val="20000"/>
                  </a:srgbClr>
                </a:gs>
                <a:gs pos="0">
                  <a:srgbClr val="A1DBB3">
                    <a:alpha val="50000"/>
                  </a:srgbClr>
                </a:gs>
                <a:gs pos="100000">
                  <a:srgbClr val="6E7DC3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8" name="任意多边形 17"/>
            <p:cNvSpPr/>
            <p:nvPr/>
          </p:nvSpPr>
          <p:spPr>
            <a:xfrm rot="2517796">
              <a:off x="7178662" y="2080056"/>
              <a:ext cx="2319644" cy="6516445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53000">
                  <a:srgbClr val="86A4D4">
                    <a:alpha val="20000"/>
                  </a:srgbClr>
                </a:gs>
                <a:gs pos="0">
                  <a:srgbClr val="85D19D">
                    <a:alpha val="60000"/>
                  </a:srgbClr>
                </a:gs>
                <a:gs pos="100000">
                  <a:srgbClr val="8E7DCB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9" name="任意多边形 18"/>
            <p:cNvSpPr/>
            <p:nvPr/>
          </p:nvSpPr>
          <p:spPr>
            <a:xfrm rot="19054139">
              <a:off x="2747823" y="2122596"/>
              <a:ext cx="2319644" cy="6516445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53000">
                  <a:srgbClr val="86A4D4">
                    <a:alpha val="20000"/>
                  </a:srgbClr>
                </a:gs>
                <a:gs pos="0">
                  <a:srgbClr val="85D19D">
                    <a:alpha val="60000"/>
                  </a:srgbClr>
                </a:gs>
                <a:gs pos="100000">
                  <a:srgbClr val="8E7DCB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0" name="任意多边形 19"/>
            <p:cNvSpPr/>
            <p:nvPr/>
          </p:nvSpPr>
          <p:spPr>
            <a:xfrm rot="17559371">
              <a:off x="1848075" y="3501639"/>
              <a:ext cx="2319644" cy="6516445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0">
                  <a:srgbClr val="809ECE">
                    <a:alpha val="50000"/>
                  </a:srgbClr>
                </a:gs>
                <a:gs pos="100000">
                  <a:srgbClr val="8E7ECC">
                    <a:alpha val="20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1" name="任意多边形 20"/>
            <p:cNvSpPr/>
            <p:nvPr/>
          </p:nvSpPr>
          <p:spPr>
            <a:xfrm rot="4135283">
              <a:off x="8014973" y="3462129"/>
              <a:ext cx="2319644" cy="6516445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0">
                  <a:srgbClr val="809ECE">
                    <a:alpha val="50000"/>
                  </a:srgbClr>
                </a:gs>
                <a:gs pos="100000">
                  <a:srgbClr val="8E7ECC">
                    <a:alpha val="20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2" name="任意多边形 21"/>
            <p:cNvSpPr/>
            <p:nvPr/>
          </p:nvSpPr>
          <p:spPr>
            <a:xfrm rot="5400000">
              <a:off x="8188487" y="4434313"/>
              <a:ext cx="2319644" cy="6516445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7100">
                  <a:srgbClr val="9EB3DC">
                    <a:alpha val="20000"/>
                  </a:srgbClr>
                </a:gs>
                <a:gs pos="100000">
                  <a:srgbClr val="8E7BCB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3" name="任意多边形 22"/>
            <p:cNvSpPr/>
            <p:nvPr/>
          </p:nvSpPr>
          <p:spPr>
            <a:xfrm rot="16372431">
              <a:off x="1708674" y="4330668"/>
              <a:ext cx="2319644" cy="6516445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10600">
                  <a:srgbClr val="9DB0DB">
                    <a:alpha val="20000"/>
                  </a:srgbClr>
                </a:gs>
                <a:gs pos="100000">
                  <a:srgbClr val="8D75C9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3" name="花3"/>
          <p:cNvGrpSpPr/>
          <p:nvPr/>
        </p:nvGrpSpPr>
        <p:grpSpPr>
          <a:xfrm>
            <a:off x="-3145042" y="-1414243"/>
            <a:ext cx="18624069" cy="10634847"/>
            <a:chOff x="-3145042" y="-1532231"/>
            <a:chExt cx="18624069" cy="10634847"/>
          </a:xfrm>
        </p:grpSpPr>
        <p:sp>
          <p:nvSpPr>
            <p:cNvPr id="26" name="任意多边形 25"/>
            <p:cNvSpPr/>
            <p:nvPr/>
          </p:nvSpPr>
          <p:spPr>
            <a:xfrm rot="1690499">
              <a:off x="6526961" y="-940137"/>
              <a:ext cx="3551344" cy="9279910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47000">
                  <a:srgbClr val="50BBD4">
                    <a:alpha val="30000"/>
                  </a:srgbClr>
                </a:gs>
                <a:gs pos="0">
                  <a:srgbClr val="75FFBA">
                    <a:alpha val="20000"/>
                  </a:srgbClr>
                </a:gs>
                <a:gs pos="100000">
                  <a:srgbClr val="6E7DC3">
                    <a:alpha val="50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7" name="任意多边形 26"/>
            <p:cNvSpPr/>
            <p:nvPr/>
          </p:nvSpPr>
          <p:spPr>
            <a:xfrm>
              <a:off x="4339025" y="-1532231"/>
              <a:ext cx="3551344" cy="9279910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47000">
                  <a:srgbClr val="52CAB3">
                    <a:alpha val="20000"/>
                  </a:srgbClr>
                </a:gs>
                <a:gs pos="0">
                  <a:srgbClr val="75FFBA">
                    <a:alpha val="20000"/>
                  </a:srgbClr>
                </a:gs>
                <a:gs pos="100000">
                  <a:srgbClr val="6E7DC3">
                    <a:alpha val="50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8" name="任意多边形 27"/>
            <p:cNvSpPr/>
            <p:nvPr/>
          </p:nvSpPr>
          <p:spPr>
            <a:xfrm rot="19892438">
              <a:off x="2131972" y="-936972"/>
              <a:ext cx="3551344" cy="9279910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47000">
                  <a:srgbClr val="50BBD4">
                    <a:alpha val="30000"/>
                  </a:srgbClr>
                </a:gs>
                <a:gs pos="0">
                  <a:srgbClr val="75FFBA">
                    <a:alpha val="20000"/>
                  </a:srgbClr>
                </a:gs>
                <a:gs pos="100000">
                  <a:srgbClr val="6E7DC3">
                    <a:alpha val="50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9" name="任意多边形 28"/>
            <p:cNvSpPr/>
            <p:nvPr/>
          </p:nvSpPr>
          <p:spPr>
            <a:xfrm rot="3302765">
              <a:off x="8173152" y="550986"/>
              <a:ext cx="3551344" cy="9279910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47000">
                  <a:srgbClr val="229DD4">
                    <a:alpha val="29804"/>
                  </a:srgbClr>
                </a:gs>
                <a:gs pos="0">
                  <a:srgbClr val="75FFBA">
                    <a:alpha val="10000"/>
                  </a:srgbClr>
                </a:gs>
                <a:gs pos="100000">
                  <a:srgbClr val="6E7DC3">
                    <a:alpha val="50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0" name="任意多边形 29"/>
            <p:cNvSpPr/>
            <p:nvPr/>
          </p:nvSpPr>
          <p:spPr>
            <a:xfrm rot="18136260">
              <a:off x="672304" y="621968"/>
              <a:ext cx="3551344" cy="9279910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47000">
                  <a:srgbClr val="229DD4">
                    <a:alpha val="29804"/>
                  </a:srgbClr>
                </a:gs>
                <a:gs pos="0">
                  <a:srgbClr val="75FFBA">
                    <a:alpha val="10000"/>
                  </a:srgbClr>
                </a:gs>
                <a:gs pos="100000">
                  <a:srgbClr val="6E7DC3">
                    <a:alpha val="50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" name="任意多边形 30"/>
            <p:cNvSpPr/>
            <p:nvPr/>
          </p:nvSpPr>
          <p:spPr>
            <a:xfrm rot="16617164">
              <a:off x="-280759" y="2629710"/>
              <a:ext cx="3551344" cy="9279910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0">
                  <a:srgbClr val="86A4D4">
                    <a:alpha val="20000"/>
                  </a:srgbClr>
                </a:gs>
                <a:gs pos="100000">
                  <a:srgbClr val="6E7DC3">
                    <a:alpha val="50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2" name="任意多边形 31"/>
            <p:cNvSpPr/>
            <p:nvPr/>
          </p:nvSpPr>
          <p:spPr>
            <a:xfrm rot="5131813">
              <a:off x="9063400" y="2686989"/>
              <a:ext cx="3551344" cy="9279910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0">
                  <a:srgbClr val="86A4D4">
                    <a:alpha val="20000"/>
                  </a:srgbClr>
                </a:gs>
                <a:gs pos="100000">
                  <a:srgbClr val="6E7DC3">
                    <a:alpha val="50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" name="花4"/>
          <p:cNvGrpSpPr/>
          <p:nvPr/>
        </p:nvGrpSpPr>
        <p:grpSpPr>
          <a:xfrm>
            <a:off x="-5343060" y="-3953560"/>
            <a:ext cx="22838079" cy="13375101"/>
            <a:chOff x="-5343060" y="-4080015"/>
            <a:chExt cx="22838079" cy="13375101"/>
          </a:xfrm>
        </p:grpSpPr>
        <p:sp>
          <p:nvSpPr>
            <p:cNvPr id="34" name="任意多边形 33"/>
            <p:cNvSpPr/>
            <p:nvPr/>
          </p:nvSpPr>
          <p:spPr>
            <a:xfrm rot="20648648">
              <a:off x="2646809" y="-3991015"/>
              <a:ext cx="3586635" cy="11907460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31000">
                  <a:srgbClr val="5AF878">
                    <a:alpha val="15000"/>
                  </a:srgbClr>
                </a:gs>
                <a:gs pos="100000">
                  <a:srgbClr val="6E7DC3">
                    <a:alpha val="50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任意多边形 34"/>
            <p:cNvSpPr/>
            <p:nvPr/>
          </p:nvSpPr>
          <p:spPr>
            <a:xfrm rot="1075034">
              <a:off x="6054006" y="-4080015"/>
              <a:ext cx="3586635" cy="11907460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31000">
                  <a:srgbClr val="5AF878">
                    <a:alpha val="25000"/>
                  </a:srgbClr>
                </a:gs>
                <a:gs pos="100000">
                  <a:srgbClr val="6E7DC3">
                    <a:alpha val="50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5" name="任意多边形 44"/>
            <p:cNvSpPr/>
            <p:nvPr/>
          </p:nvSpPr>
          <p:spPr>
            <a:xfrm rot="2492382">
              <a:off x="8262931" y="-2612376"/>
              <a:ext cx="3586635" cy="11907460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31000">
                  <a:srgbClr val="09D1AB">
                    <a:alpha val="15000"/>
                  </a:srgbClr>
                </a:gs>
                <a:gs pos="100000">
                  <a:srgbClr val="6E7DC3">
                    <a:alpha val="50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6" name="任意多边形 45"/>
            <p:cNvSpPr/>
            <p:nvPr/>
          </p:nvSpPr>
          <p:spPr>
            <a:xfrm rot="18948373">
              <a:off x="216173" y="-2612374"/>
              <a:ext cx="3586635" cy="11907460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31000">
                  <a:srgbClr val="09D1AB">
                    <a:alpha val="15000"/>
                  </a:srgbClr>
                </a:gs>
                <a:gs pos="100000">
                  <a:srgbClr val="6E7DC3">
                    <a:alpha val="50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8" name="任意多边形 47"/>
            <p:cNvSpPr/>
            <p:nvPr/>
          </p:nvSpPr>
          <p:spPr>
            <a:xfrm rot="4080311">
              <a:off x="9747971" y="-477004"/>
              <a:ext cx="3586635" cy="11907460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31000">
                  <a:srgbClr val="0A80D0">
                    <a:alpha val="14902"/>
                  </a:srgbClr>
                </a:gs>
                <a:gs pos="100000">
                  <a:srgbClr val="6E7DC3">
                    <a:alpha val="50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9" name="任意多边形 48"/>
            <p:cNvSpPr/>
            <p:nvPr/>
          </p:nvSpPr>
          <p:spPr>
            <a:xfrm rot="17262051">
              <a:off x="-1182648" y="-62449"/>
              <a:ext cx="3586635" cy="11907460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31000">
                  <a:srgbClr val="0A80D0">
                    <a:alpha val="14902"/>
                  </a:srgbClr>
                </a:gs>
                <a:gs pos="100000">
                  <a:srgbClr val="6E7DC3">
                    <a:alpha val="50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4" name="文本框 3"/>
          <p:cNvSpPr txBox="1"/>
          <p:nvPr/>
        </p:nvSpPr>
        <p:spPr>
          <a:xfrm>
            <a:off x="425607" y="1769843"/>
            <a:ext cx="1144806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0" b="1" dirty="0" smtClean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实习中期检查及开题答辩</a:t>
            </a:r>
            <a:endParaRPr lang="zh-CN" altLang="en-US" sz="8000" b="1" dirty="0">
              <a:solidFill>
                <a:schemeClr val="bg1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2993439" y="4630880"/>
            <a:ext cx="6171429" cy="3725279"/>
            <a:chOff x="2993439" y="4630880"/>
            <a:chExt cx="6171429" cy="3725279"/>
          </a:xfrm>
        </p:grpSpPr>
        <p:sp>
          <p:nvSpPr>
            <p:cNvPr id="52" name="任意多边形 51"/>
            <p:cNvSpPr/>
            <p:nvPr/>
          </p:nvSpPr>
          <p:spPr>
            <a:xfrm>
              <a:off x="5805166" y="4630880"/>
              <a:ext cx="595327" cy="3357947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9" name="任意多边形 58"/>
            <p:cNvSpPr/>
            <p:nvPr/>
          </p:nvSpPr>
          <p:spPr>
            <a:xfrm rot="1072922">
              <a:off x="6319816" y="4729971"/>
              <a:ext cx="595327" cy="3357947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0" name="任意多边形 59"/>
            <p:cNvSpPr/>
            <p:nvPr/>
          </p:nvSpPr>
          <p:spPr>
            <a:xfrm rot="20479144">
              <a:off x="5292991" y="4751348"/>
              <a:ext cx="595327" cy="3357947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1" name="任意多边形 60"/>
            <p:cNvSpPr/>
            <p:nvPr/>
          </p:nvSpPr>
          <p:spPr>
            <a:xfrm rot="1888215">
              <a:off x="6682185" y="4992537"/>
              <a:ext cx="595327" cy="3357947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2" name="任意多边形 61"/>
            <p:cNvSpPr/>
            <p:nvPr/>
          </p:nvSpPr>
          <p:spPr>
            <a:xfrm rot="19502102">
              <a:off x="4898947" y="4998212"/>
              <a:ext cx="595327" cy="3357947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3" name="任意多边形 62"/>
            <p:cNvSpPr/>
            <p:nvPr/>
          </p:nvSpPr>
          <p:spPr>
            <a:xfrm rot="2750473">
              <a:off x="6921793" y="5260766"/>
              <a:ext cx="595327" cy="3357947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4" name="任意多边形 63"/>
            <p:cNvSpPr/>
            <p:nvPr/>
          </p:nvSpPr>
          <p:spPr>
            <a:xfrm rot="3552967">
              <a:off x="7188231" y="5502371"/>
              <a:ext cx="595327" cy="3357947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5" name="任意多边形 64"/>
            <p:cNvSpPr/>
            <p:nvPr/>
          </p:nvSpPr>
          <p:spPr>
            <a:xfrm rot="18615097">
              <a:off x="4571391" y="5292408"/>
              <a:ext cx="595327" cy="3357947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6" name="任意多边形 65"/>
            <p:cNvSpPr/>
            <p:nvPr/>
          </p:nvSpPr>
          <p:spPr>
            <a:xfrm rot="17950328">
              <a:off x="4374749" y="5584427"/>
              <a:ext cx="595327" cy="3357947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6" name="文本框 5"/>
          <p:cNvSpPr txBox="1"/>
          <p:nvPr/>
        </p:nvSpPr>
        <p:spPr>
          <a:xfrm>
            <a:off x="3977929" y="4224048"/>
            <a:ext cx="57722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 smtClean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学生学号：</a:t>
            </a:r>
            <a:r>
              <a:rPr lang="en-US" altLang="zh-CN" sz="2800" b="1" dirty="0" smtClean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		12301007</a:t>
            </a:r>
            <a:endParaRPr lang="zh-CN" altLang="en-US" sz="2800" b="1" dirty="0">
              <a:solidFill>
                <a:schemeClr val="bg1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84" name="文本框 83"/>
          <p:cNvSpPr txBox="1"/>
          <p:nvPr/>
        </p:nvSpPr>
        <p:spPr>
          <a:xfrm>
            <a:off x="3989994" y="3624766"/>
            <a:ext cx="41069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 smtClean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学生姓名：</a:t>
            </a:r>
            <a:r>
              <a:rPr lang="en-US" altLang="zh-CN" sz="2800" b="1" dirty="0" smtClean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		</a:t>
            </a:r>
            <a:r>
              <a:rPr lang="zh-CN" altLang="en-US" sz="2800" b="1" dirty="0" smtClean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何俊毅</a:t>
            </a:r>
            <a:endParaRPr lang="zh-CN" altLang="en-US" sz="2800" b="1" dirty="0"/>
          </a:p>
        </p:txBody>
      </p:sp>
      <p:sp>
        <p:nvSpPr>
          <p:cNvPr id="3" name="文本框 2"/>
          <p:cNvSpPr txBox="1"/>
          <p:nvPr/>
        </p:nvSpPr>
        <p:spPr>
          <a:xfrm>
            <a:off x="3971766" y="4852749"/>
            <a:ext cx="439357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 smtClean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指导教师：</a:t>
            </a:r>
            <a:r>
              <a:rPr lang="en-US" altLang="zh-CN" sz="2800" b="1" dirty="0" smtClean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		</a:t>
            </a:r>
            <a:r>
              <a:rPr lang="zh-CN" altLang="en-US" sz="2800" b="1" dirty="0" smtClean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陈旭东</a:t>
            </a:r>
            <a:endParaRPr lang="zh-CN" altLang="en-US" sz="2800" b="1" dirty="0">
              <a:solidFill>
                <a:schemeClr val="bg1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804819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95000"/>
              </a:schemeClr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组合 43"/>
          <p:cNvGrpSpPr/>
          <p:nvPr/>
        </p:nvGrpSpPr>
        <p:grpSpPr>
          <a:xfrm rot="13980087">
            <a:off x="4640743" y="-703387"/>
            <a:ext cx="11514278" cy="6743327"/>
            <a:chOff x="-5343060" y="-3962027"/>
            <a:chExt cx="22838079" cy="13375101"/>
          </a:xfrm>
        </p:grpSpPr>
        <p:grpSp>
          <p:nvGrpSpPr>
            <p:cNvPr id="2" name="花1"/>
            <p:cNvGrpSpPr/>
            <p:nvPr/>
          </p:nvGrpSpPr>
          <p:grpSpPr>
            <a:xfrm>
              <a:off x="1859121" y="3546988"/>
              <a:ext cx="8526317" cy="4848472"/>
              <a:chOff x="1859121" y="3429000"/>
              <a:chExt cx="8526317" cy="4848472"/>
            </a:xfrm>
          </p:grpSpPr>
          <p:sp>
            <p:nvSpPr>
              <p:cNvPr id="3" name="任意多边形 2"/>
              <p:cNvSpPr/>
              <p:nvPr/>
            </p:nvSpPr>
            <p:spPr>
              <a:xfrm>
                <a:off x="5088193" y="3429000"/>
                <a:ext cx="2015614" cy="4367958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56600">
                    <a:srgbClr val="ADB5DD">
                      <a:alpha val="35000"/>
                    </a:srgbClr>
                  </a:gs>
                  <a:gs pos="0">
                    <a:srgbClr val="C1FFEF">
                      <a:alpha val="49804"/>
                    </a:srgbClr>
                  </a:gs>
                  <a:gs pos="100000">
                    <a:srgbClr val="6E7DC3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" name="任意多边形 3"/>
              <p:cNvSpPr/>
              <p:nvPr/>
            </p:nvSpPr>
            <p:spPr>
              <a:xfrm rot="19862953">
                <a:off x="4038181" y="3686122"/>
                <a:ext cx="2015614" cy="4367958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56600">
                    <a:srgbClr val="ADB5DD">
                      <a:alpha val="35000"/>
                    </a:srgbClr>
                  </a:gs>
                  <a:gs pos="0">
                    <a:srgbClr val="C1FFEF">
                      <a:alpha val="49804"/>
                    </a:srgbClr>
                  </a:gs>
                  <a:gs pos="100000">
                    <a:srgbClr val="6E7DC3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" name="任意多边形 4"/>
              <p:cNvSpPr/>
              <p:nvPr/>
            </p:nvSpPr>
            <p:spPr>
              <a:xfrm rot="1791145">
                <a:off x="6081931" y="3648293"/>
                <a:ext cx="2015614" cy="4367958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56600">
                    <a:srgbClr val="ADB5DD">
                      <a:alpha val="35000"/>
                    </a:srgbClr>
                  </a:gs>
                  <a:gs pos="0">
                    <a:srgbClr val="C1FFEF">
                      <a:alpha val="49804"/>
                    </a:srgbClr>
                  </a:gs>
                  <a:gs pos="100000">
                    <a:srgbClr val="6E7DC3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" name="任意多边形 5"/>
              <p:cNvSpPr/>
              <p:nvPr/>
            </p:nvSpPr>
            <p:spPr>
              <a:xfrm rot="3361456">
                <a:off x="6916490" y="4377466"/>
                <a:ext cx="2015614" cy="4367958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56600">
                    <a:srgbClr val="ADB5DD">
                      <a:alpha val="35000"/>
                    </a:srgbClr>
                  </a:gs>
                  <a:gs pos="0">
                    <a:srgbClr val="C1FFEF">
                      <a:alpha val="49804"/>
                    </a:srgbClr>
                  </a:gs>
                  <a:gs pos="100000">
                    <a:srgbClr val="6E7DC3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" name="任意多边形 6"/>
              <p:cNvSpPr/>
              <p:nvPr/>
            </p:nvSpPr>
            <p:spPr>
              <a:xfrm rot="18029728">
                <a:off x="3346961" y="4377776"/>
                <a:ext cx="2015614" cy="4367958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56600">
                    <a:srgbClr val="ADB5DD">
                      <a:alpha val="35000"/>
                    </a:srgbClr>
                  </a:gs>
                  <a:gs pos="0">
                    <a:srgbClr val="C1FFEF">
                      <a:alpha val="49804"/>
                    </a:srgbClr>
                  </a:gs>
                  <a:gs pos="100000">
                    <a:srgbClr val="6E7DC3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" name="任意多边形 7"/>
              <p:cNvSpPr/>
              <p:nvPr/>
            </p:nvSpPr>
            <p:spPr>
              <a:xfrm rot="4636883">
                <a:off x="7193652" y="5085686"/>
                <a:ext cx="2015614" cy="4367958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56600">
                    <a:srgbClr val="ADB5DD">
                      <a:alpha val="35000"/>
                    </a:srgbClr>
                  </a:gs>
                  <a:gs pos="0">
                    <a:srgbClr val="C1FFEF">
                      <a:alpha val="49804"/>
                    </a:srgbClr>
                  </a:gs>
                  <a:gs pos="100000">
                    <a:srgbClr val="6E7DC3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" name="任意多边形 8"/>
              <p:cNvSpPr/>
              <p:nvPr/>
            </p:nvSpPr>
            <p:spPr>
              <a:xfrm rot="16978576">
                <a:off x="3035293" y="5077119"/>
                <a:ext cx="2015614" cy="4367958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56600">
                    <a:srgbClr val="ADB5DD">
                      <a:alpha val="35000"/>
                    </a:srgbClr>
                  </a:gs>
                  <a:gs pos="0">
                    <a:srgbClr val="C1FFEF">
                      <a:alpha val="49804"/>
                    </a:srgbClr>
                  </a:gs>
                  <a:gs pos="100000">
                    <a:srgbClr val="6E7DC3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0" name="花2"/>
            <p:cNvGrpSpPr/>
            <p:nvPr/>
          </p:nvGrpSpPr>
          <p:grpSpPr>
            <a:xfrm>
              <a:off x="-389727" y="1491439"/>
              <a:ext cx="12996258" cy="7478907"/>
              <a:chOff x="-389727" y="1373451"/>
              <a:chExt cx="12996258" cy="7478907"/>
            </a:xfrm>
          </p:grpSpPr>
          <p:sp>
            <p:nvSpPr>
              <p:cNvPr id="11" name="任意多边形 10"/>
              <p:cNvSpPr/>
              <p:nvPr/>
            </p:nvSpPr>
            <p:spPr>
              <a:xfrm rot="20738027">
                <a:off x="4131678" y="1398019"/>
                <a:ext cx="2319644" cy="6516445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77000">
                    <a:srgbClr val="9FB7DD">
                      <a:alpha val="20000"/>
                    </a:srgbClr>
                  </a:gs>
                  <a:gs pos="0">
                    <a:srgbClr val="A1DBB3">
                      <a:alpha val="50000"/>
                    </a:srgbClr>
                  </a:gs>
                  <a:gs pos="100000">
                    <a:srgbClr val="6E7DC3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任意多边形 11"/>
              <p:cNvSpPr/>
              <p:nvPr/>
            </p:nvSpPr>
            <p:spPr>
              <a:xfrm rot="852536">
                <a:off x="5736820" y="1373451"/>
                <a:ext cx="2319644" cy="6516445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77000">
                    <a:srgbClr val="9FB7DD">
                      <a:alpha val="20000"/>
                    </a:srgbClr>
                  </a:gs>
                  <a:gs pos="0">
                    <a:srgbClr val="A1DBB3">
                      <a:alpha val="50000"/>
                    </a:srgbClr>
                  </a:gs>
                  <a:gs pos="100000">
                    <a:srgbClr val="6E7DC3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" name="任意多边形 12"/>
              <p:cNvSpPr/>
              <p:nvPr/>
            </p:nvSpPr>
            <p:spPr>
              <a:xfrm rot="2517796">
                <a:off x="7178662" y="2080056"/>
                <a:ext cx="2319644" cy="6516445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53000">
                    <a:srgbClr val="86A4D4">
                      <a:alpha val="20000"/>
                    </a:srgbClr>
                  </a:gs>
                  <a:gs pos="0">
                    <a:srgbClr val="85D19D">
                      <a:alpha val="60000"/>
                    </a:srgbClr>
                  </a:gs>
                  <a:gs pos="100000">
                    <a:srgbClr val="8E7DCB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" name="任意多边形 13"/>
              <p:cNvSpPr/>
              <p:nvPr/>
            </p:nvSpPr>
            <p:spPr>
              <a:xfrm rot="19054139">
                <a:off x="2747823" y="2122596"/>
                <a:ext cx="2319644" cy="6516445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53000">
                    <a:srgbClr val="86A4D4">
                      <a:alpha val="20000"/>
                    </a:srgbClr>
                  </a:gs>
                  <a:gs pos="0">
                    <a:srgbClr val="85D19D">
                      <a:alpha val="60000"/>
                    </a:srgbClr>
                  </a:gs>
                  <a:gs pos="100000">
                    <a:srgbClr val="8E7DCB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任意多边形 14"/>
              <p:cNvSpPr/>
              <p:nvPr/>
            </p:nvSpPr>
            <p:spPr>
              <a:xfrm rot="17559371">
                <a:off x="1848075" y="3501639"/>
                <a:ext cx="2319644" cy="6516445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0">
                    <a:srgbClr val="809ECE">
                      <a:alpha val="50000"/>
                    </a:srgbClr>
                  </a:gs>
                  <a:gs pos="100000">
                    <a:srgbClr val="8E7ECC">
                      <a:alpha val="2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6" name="任意多边形 15"/>
              <p:cNvSpPr/>
              <p:nvPr/>
            </p:nvSpPr>
            <p:spPr>
              <a:xfrm rot="4135283">
                <a:off x="8014973" y="3462129"/>
                <a:ext cx="2319644" cy="6516445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0">
                    <a:srgbClr val="809ECE">
                      <a:alpha val="50000"/>
                    </a:srgbClr>
                  </a:gs>
                  <a:gs pos="100000">
                    <a:srgbClr val="8E7ECC">
                      <a:alpha val="2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" name="任意多边形 16"/>
              <p:cNvSpPr/>
              <p:nvPr/>
            </p:nvSpPr>
            <p:spPr>
              <a:xfrm rot="5400000">
                <a:off x="8188487" y="4434313"/>
                <a:ext cx="2319644" cy="6516445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7100">
                    <a:srgbClr val="9EB3DC">
                      <a:alpha val="20000"/>
                    </a:srgbClr>
                  </a:gs>
                  <a:gs pos="100000">
                    <a:srgbClr val="8E7BCB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任意多边形 17"/>
              <p:cNvSpPr/>
              <p:nvPr/>
            </p:nvSpPr>
            <p:spPr>
              <a:xfrm rot="16372431">
                <a:off x="1708674" y="4330668"/>
                <a:ext cx="2319644" cy="6516445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10600">
                    <a:srgbClr val="9DB0DB">
                      <a:alpha val="20000"/>
                    </a:srgbClr>
                  </a:gs>
                  <a:gs pos="100000">
                    <a:srgbClr val="8D75C9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9" name="花3"/>
            <p:cNvGrpSpPr/>
            <p:nvPr/>
          </p:nvGrpSpPr>
          <p:grpSpPr>
            <a:xfrm>
              <a:off x="-3145042" y="-1414243"/>
              <a:ext cx="18624069" cy="10634847"/>
              <a:chOff x="-3145042" y="-1532231"/>
              <a:chExt cx="18624069" cy="10634847"/>
            </a:xfrm>
          </p:grpSpPr>
          <p:sp>
            <p:nvSpPr>
              <p:cNvPr id="20" name="任意多边形 19"/>
              <p:cNvSpPr/>
              <p:nvPr/>
            </p:nvSpPr>
            <p:spPr>
              <a:xfrm rot="1690499">
                <a:off x="6526961" y="-940137"/>
                <a:ext cx="3551344" cy="927991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47000">
                    <a:srgbClr val="50BBD4">
                      <a:alpha val="30000"/>
                    </a:srgbClr>
                  </a:gs>
                  <a:gs pos="0">
                    <a:srgbClr val="75FFBA">
                      <a:alpha val="20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任意多边形 20"/>
              <p:cNvSpPr/>
              <p:nvPr/>
            </p:nvSpPr>
            <p:spPr>
              <a:xfrm>
                <a:off x="4339025" y="-1532231"/>
                <a:ext cx="3551344" cy="927991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47000">
                    <a:srgbClr val="52CAB3">
                      <a:alpha val="20000"/>
                    </a:srgbClr>
                  </a:gs>
                  <a:gs pos="0">
                    <a:srgbClr val="75FFBA">
                      <a:alpha val="20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2" name="任意多边形 21"/>
              <p:cNvSpPr/>
              <p:nvPr/>
            </p:nvSpPr>
            <p:spPr>
              <a:xfrm rot="19892438">
                <a:off x="2131972" y="-936972"/>
                <a:ext cx="3551344" cy="927991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47000">
                    <a:srgbClr val="50BBD4">
                      <a:alpha val="30000"/>
                    </a:srgbClr>
                  </a:gs>
                  <a:gs pos="0">
                    <a:srgbClr val="75FFBA">
                      <a:alpha val="20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3" name="任意多边形 22"/>
              <p:cNvSpPr/>
              <p:nvPr/>
            </p:nvSpPr>
            <p:spPr>
              <a:xfrm rot="3302765">
                <a:off x="8173152" y="550986"/>
                <a:ext cx="3551344" cy="927991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47000">
                    <a:srgbClr val="229DD4">
                      <a:alpha val="29804"/>
                    </a:srgbClr>
                  </a:gs>
                  <a:gs pos="0">
                    <a:srgbClr val="75FFBA">
                      <a:alpha val="10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任意多边形 23"/>
              <p:cNvSpPr/>
              <p:nvPr/>
            </p:nvSpPr>
            <p:spPr>
              <a:xfrm rot="18136260">
                <a:off x="672304" y="621968"/>
                <a:ext cx="3551344" cy="927991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47000">
                    <a:srgbClr val="229DD4">
                      <a:alpha val="29804"/>
                    </a:srgbClr>
                  </a:gs>
                  <a:gs pos="0">
                    <a:srgbClr val="75FFBA">
                      <a:alpha val="10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5" name="任意多边形 24"/>
              <p:cNvSpPr/>
              <p:nvPr/>
            </p:nvSpPr>
            <p:spPr>
              <a:xfrm rot="16617164">
                <a:off x="-280759" y="2629710"/>
                <a:ext cx="3551344" cy="927991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0">
                    <a:srgbClr val="86A4D4">
                      <a:alpha val="20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6" name="任意多边形 25"/>
              <p:cNvSpPr/>
              <p:nvPr/>
            </p:nvSpPr>
            <p:spPr>
              <a:xfrm rot="5131813">
                <a:off x="9063400" y="2686989"/>
                <a:ext cx="3551344" cy="927991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0">
                    <a:srgbClr val="86A4D4">
                      <a:alpha val="20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27" name="花4"/>
            <p:cNvGrpSpPr/>
            <p:nvPr/>
          </p:nvGrpSpPr>
          <p:grpSpPr>
            <a:xfrm>
              <a:off x="-5343060" y="-3962027"/>
              <a:ext cx="22838079" cy="13375101"/>
              <a:chOff x="-5343060" y="-4080015"/>
              <a:chExt cx="22838079" cy="13375101"/>
            </a:xfrm>
          </p:grpSpPr>
          <p:sp>
            <p:nvSpPr>
              <p:cNvPr id="28" name="任意多边形 27"/>
              <p:cNvSpPr/>
              <p:nvPr/>
            </p:nvSpPr>
            <p:spPr>
              <a:xfrm rot="20648648">
                <a:off x="2646809" y="-3991015"/>
                <a:ext cx="3586635" cy="1190746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31000">
                    <a:srgbClr val="5AF878">
                      <a:alpha val="15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9" name="任意多边形 28"/>
              <p:cNvSpPr/>
              <p:nvPr/>
            </p:nvSpPr>
            <p:spPr>
              <a:xfrm rot="1075034">
                <a:off x="6054006" y="-4080015"/>
                <a:ext cx="3586635" cy="1190746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31000">
                    <a:srgbClr val="5AF878">
                      <a:alpha val="25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0" name="任意多边形 29"/>
              <p:cNvSpPr/>
              <p:nvPr/>
            </p:nvSpPr>
            <p:spPr>
              <a:xfrm rot="2492382">
                <a:off x="8262931" y="-2612376"/>
                <a:ext cx="3586635" cy="1190746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31000">
                    <a:srgbClr val="09D1AB">
                      <a:alpha val="15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1" name="任意多边形 30"/>
              <p:cNvSpPr/>
              <p:nvPr/>
            </p:nvSpPr>
            <p:spPr>
              <a:xfrm rot="18948373">
                <a:off x="216173" y="-2612374"/>
                <a:ext cx="3586635" cy="1190746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31000">
                    <a:srgbClr val="09D1AB">
                      <a:alpha val="15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2" name="任意多边形 31"/>
              <p:cNvSpPr/>
              <p:nvPr/>
            </p:nvSpPr>
            <p:spPr>
              <a:xfrm rot="4080311">
                <a:off x="9747971" y="-477004"/>
                <a:ext cx="3586635" cy="1190746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31000">
                    <a:srgbClr val="0A80D0">
                      <a:alpha val="14902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3" name="任意多边形 32"/>
              <p:cNvSpPr/>
              <p:nvPr/>
            </p:nvSpPr>
            <p:spPr>
              <a:xfrm rot="17262051">
                <a:off x="-1182648" y="-62449"/>
                <a:ext cx="3586635" cy="1190746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31000">
                    <a:srgbClr val="0A80D0">
                      <a:alpha val="14902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34" name="组合 33"/>
            <p:cNvGrpSpPr/>
            <p:nvPr/>
          </p:nvGrpSpPr>
          <p:grpSpPr>
            <a:xfrm>
              <a:off x="2993439" y="4630880"/>
              <a:ext cx="6171429" cy="3725279"/>
              <a:chOff x="2993439" y="4630880"/>
              <a:chExt cx="6171429" cy="3725279"/>
            </a:xfrm>
          </p:grpSpPr>
          <p:sp>
            <p:nvSpPr>
              <p:cNvPr id="35" name="任意多边形 34"/>
              <p:cNvSpPr/>
              <p:nvPr/>
            </p:nvSpPr>
            <p:spPr>
              <a:xfrm>
                <a:off x="5805166" y="4630880"/>
                <a:ext cx="595327" cy="3357947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solidFill>
                <a:schemeClr val="bg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6" name="任意多边形 35"/>
              <p:cNvSpPr/>
              <p:nvPr/>
            </p:nvSpPr>
            <p:spPr>
              <a:xfrm rot="1072922">
                <a:off x="6319816" y="4729971"/>
                <a:ext cx="595327" cy="3357947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solidFill>
                <a:schemeClr val="bg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7" name="任意多边形 36"/>
              <p:cNvSpPr/>
              <p:nvPr/>
            </p:nvSpPr>
            <p:spPr>
              <a:xfrm rot="20479144">
                <a:off x="5292991" y="4751348"/>
                <a:ext cx="595327" cy="3357947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solidFill>
                <a:schemeClr val="bg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8" name="任意多边形 37"/>
              <p:cNvSpPr/>
              <p:nvPr/>
            </p:nvSpPr>
            <p:spPr>
              <a:xfrm rot="1888215">
                <a:off x="6682185" y="4992537"/>
                <a:ext cx="595327" cy="3357947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solidFill>
                <a:schemeClr val="bg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9" name="任意多边形 38"/>
              <p:cNvSpPr/>
              <p:nvPr/>
            </p:nvSpPr>
            <p:spPr>
              <a:xfrm rot="19502102">
                <a:off x="4898947" y="4998212"/>
                <a:ext cx="595327" cy="3357947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solidFill>
                <a:schemeClr val="bg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0" name="任意多边形 39"/>
              <p:cNvSpPr/>
              <p:nvPr/>
            </p:nvSpPr>
            <p:spPr>
              <a:xfrm rot="2750473">
                <a:off x="6921793" y="5260766"/>
                <a:ext cx="595327" cy="3357947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solidFill>
                <a:schemeClr val="bg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1" name="任意多边形 40"/>
              <p:cNvSpPr/>
              <p:nvPr/>
            </p:nvSpPr>
            <p:spPr>
              <a:xfrm rot="3552967">
                <a:off x="7188231" y="5502371"/>
                <a:ext cx="595327" cy="3357947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solidFill>
                <a:schemeClr val="bg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2" name="任意多边形 41"/>
              <p:cNvSpPr/>
              <p:nvPr/>
            </p:nvSpPr>
            <p:spPr>
              <a:xfrm rot="18615097">
                <a:off x="4571391" y="5292408"/>
                <a:ext cx="595327" cy="3357947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solidFill>
                <a:schemeClr val="bg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3" name="任意多边形 42"/>
              <p:cNvSpPr/>
              <p:nvPr/>
            </p:nvSpPr>
            <p:spPr>
              <a:xfrm rot="17950328">
                <a:off x="4374749" y="5584427"/>
                <a:ext cx="595327" cy="3357947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solidFill>
                <a:schemeClr val="bg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45" name="文本框 44"/>
          <p:cNvSpPr txBox="1"/>
          <p:nvPr/>
        </p:nvSpPr>
        <p:spPr>
          <a:xfrm>
            <a:off x="671140" y="490164"/>
            <a:ext cx="5679232" cy="1107996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sz="6600" b="1" dirty="0" smtClean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实习相关</a:t>
            </a:r>
            <a:endParaRPr lang="zh-CN" altLang="en-US" sz="6600" b="1" dirty="0"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46" name="任意多边形 45"/>
          <p:cNvSpPr/>
          <p:nvPr/>
        </p:nvSpPr>
        <p:spPr>
          <a:xfrm rot="18453518">
            <a:off x="869150" y="1661261"/>
            <a:ext cx="367072" cy="921255"/>
          </a:xfrm>
          <a:custGeom>
            <a:avLst/>
            <a:gdLst>
              <a:gd name="connsiteX0" fmla="*/ 1007807 w 2015614"/>
              <a:gd name="connsiteY0" fmla="*/ 0 h 4367958"/>
              <a:gd name="connsiteX1" fmla="*/ 1173272 w 2015614"/>
              <a:gd name="connsiteY1" fmla="*/ 150385 h 4367958"/>
              <a:gd name="connsiteX2" fmla="*/ 2015614 w 2015614"/>
              <a:gd name="connsiteY2" fmla="*/ 2183979 h 4367958"/>
              <a:gd name="connsiteX3" fmla="*/ 1173272 w 2015614"/>
              <a:gd name="connsiteY3" fmla="*/ 4217573 h 4367958"/>
              <a:gd name="connsiteX4" fmla="*/ 1007808 w 2015614"/>
              <a:gd name="connsiteY4" fmla="*/ 4367958 h 4367958"/>
              <a:gd name="connsiteX5" fmla="*/ 842342 w 2015614"/>
              <a:gd name="connsiteY5" fmla="*/ 4217572 h 4367958"/>
              <a:gd name="connsiteX6" fmla="*/ 0 w 2015614"/>
              <a:gd name="connsiteY6" fmla="*/ 2183978 h 4367958"/>
              <a:gd name="connsiteX7" fmla="*/ 842342 w 2015614"/>
              <a:gd name="connsiteY7" fmla="*/ 150384 h 4367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15614" h="4367958">
                <a:moveTo>
                  <a:pt x="1007807" y="0"/>
                </a:moveTo>
                <a:lnTo>
                  <a:pt x="1173272" y="150385"/>
                </a:lnTo>
                <a:cubicBezTo>
                  <a:pt x="1693714" y="670827"/>
                  <a:pt x="2015614" y="1389811"/>
                  <a:pt x="2015614" y="2183979"/>
                </a:cubicBezTo>
                <a:cubicBezTo>
                  <a:pt x="2015614" y="2978147"/>
                  <a:pt x="1693714" y="3697131"/>
                  <a:pt x="1173272" y="4217573"/>
                </a:cubicBezTo>
                <a:lnTo>
                  <a:pt x="1007808" y="4367958"/>
                </a:lnTo>
                <a:lnTo>
                  <a:pt x="842342" y="4217572"/>
                </a:lnTo>
                <a:cubicBezTo>
                  <a:pt x="321900" y="3697130"/>
                  <a:pt x="0" y="2978146"/>
                  <a:pt x="0" y="2183978"/>
                </a:cubicBezTo>
                <a:cubicBezTo>
                  <a:pt x="0" y="1389810"/>
                  <a:pt x="321900" y="670826"/>
                  <a:pt x="842342" y="150384"/>
                </a:cubicBezTo>
                <a:close/>
              </a:path>
            </a:pathLst>
          </a:custGeom>
          <a:gradFill>
            <a:gsLst>
              <a:gs pos="31000">
                <a:srgbClr val="09D1AB">
                  <a:alpha val="15000"/>
                </a:srgbClr>
              </a:gs>
              <a:gs pos="100000">
                <a:srgbClr val="6E7DC3">
                  <a:alpha val="5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9" name="组合 48"/>
          <p:cNvGrpSpPr/>
          <p:nvPr/>
        </p:nvGrpSpPr>
        <p:grpSpPr>
          <a:xfrm>
            <a:off x="655966" y="3010035"/>
            <a:ext cx="890022" cy="592488"/>
            <a:chOff x="427929" y="2964755"/>
            <a:chExt cx="945409" cy="629359"/>
          </a:xfrm>
        </p:grpSpPr>
        <p:sp>
          <p:nvSpPr>
            <p:cNvPr id="47" name="任意多边形 46"/>
            <p:cNvSpPr/>
            <p:nvPr/>
          </p:nvSpPr>
          <p:spPr>
            <a:xfrm rot="18453518">
              <a:off x="712286" y="2680398"/>
              <a:ext cx="376696" cy="945409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31000">
                  <a:srgbClr val="09D1AB">
                    <a:alpha val="15000"/>
                  </a:srgbClr>
                </a:gs>
                <a:gs pos="100000">
                  <a:srgbClr val="6E7DC3">
                    <a:alpha val="50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8" name="任意多边形 47"/>
            <p:cNvSpPr/>
            <p:nvPr/>
          </p:nvSpPr>
          <p:spPr>
            <a:xfrm rot="16200000">
              <a:off x="719645" y="3042462"/>
              <a:ext cx="314355" cy="788949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31000">
                  <a:srgbClr val="09D1AB">
                    <a:alpha val="15000"/>
                  </a:srgbClr>
                </a:gs>
                <a:gs pos="100000">
                  <a:srgbClr val="6E7DC3">
                    <a:alpha val="50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54" name="组合 53"/>
          <p:cNvGrpSpPr/>
          <p:nvPr/>
        </p:nvGrpSpPr>
        <p:grpSpPr>
          <a:xfrm>
            <a:off x="584309" y="4173724"/>
            <a:ext cx="920641" cy="720668"/>
            <a:chOff x="491004" y="4154674"/>
            <a:chExt cx="945409" cy="740056"/>
          </a:xfrm>
        </p:grpSpPr>
        <p:grpSp>
          <p:nvGrpSpPr>
            <p:cNvPr id="50" name="组合 49"/>
            <p:cNvGrpSpPr/>
            <p:nvPr/>
          </p:nvGrpSpPr>
          <p:grpSpPr>
            <a:xfrm>
              <a:off x="491004" y="4154674"/>
              <a:ext cx="945409" cy="629359"/>
              <a:chOff x="427929" y="2964755"/>
              <a:chExt cx="945409" cy="629359"/>
            </a:xfrm>
          </p:grpSpPr>
          <p:sp>
            <p:nvSpPr>
              <p:cNvPr id="51" name="任意多边形 50"/>
              <p:cNvSpPr/>
              <p:nvPr/>
            </p:nvSpPr>
            <p:spPr>
              <a:xfrm rot="18453518">
                <a:off x="712286" y="2680398"/>
                <a:ext cx="376696" cy="945409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31000">
                    <a:srgbClr val="09D1AB">
                      <a:alpha val="15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2" name="任意多边形 51"/>
              <p:cNvSpPr/>
              <p:nvPr/>
            </p:nvSpPr>
            <p:spPr>
              <a:xfrm rot="16200000">
                <a:off x="719645" y="3042462"/>
                <a:ext cx="314355" cy="788949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31000">
                    <a:srgbClr val="09D1AB">
                      <a:alpha val="15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53" name="任意多边形 52"/>
            <p:cNvSpPr/>
            <p:nvPr/>
          </p:nvSpPr>
          <p:spPr>
            <a:xfrm rot="14363807">
              <a:off x="970960" y="4493742"/>
              <a:ext cx="228500" cy="573475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31000">
                  <a:srgbClr val="09D1AB">
                    <a:alpha val="15000"/>
                  </a:srgbClr>
                </a:gs>
                <a:gs pos="100000">
                  <a:srgbClr val="6E7DC3">
                    <a:alpha val="50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61" name="组合 60"/>
          <p:cNvGrpSpPr/>
          <p:nvPr/>
        </p:nvGrpSpPr>
        <p:grpSpPr>
          <a:xfrm>
            <a:off x="628077" y="5434031"/>
            <a:ext cx="821284" cy="758537"/>
            <a:chOff x="612714" y="5338808"/>
            <a:chExt cx="821284" cy="758537"/>
          </a:xfrm>
        </p:grpSpPr>
        <p:grpSp>
          <p:nvGrpSpPr>
            <p:cNvPr id="55" name="组合 54"/>
            <p:cNvGrpSpPr/>
            <p:nvPr/>
          </p:nvGrpSpPr>
          <p:grpSpPr>
            <a:xfrm>
              <a:off x="612714" y="5338808"/>
              <a:ext cx="821284" cy="642892"/>
              <a:chOff x="491004" y="4154674"/>
              <a:chExt cx="945409" cy="740056"/>
            </a:xfrm>
          </p:grpSpPr>
          <p:grpSp>
            <p:nvGrpSpPr>
              <p:cNvPr id="56" name="组合 55"/>
              <p:cNvGrpSpPr/>
              <p:nvPr/>
            </p:nvGrpSpPr>
            <p:grpSpPr>
              <a:xfrm>
                <a:off x="491004" y="4154674"/>
                <a:ext cx="945409" cy="629359"/>
                <a:chOff x="427929" y="2964755"/>
                <a:chExt cx="945409" cy="629359"/>
              </a:xfrm>
            </p:grpSpPr>
            <p:sp>
              <p:nvSpPr>
                <p:cNvPr id="58" name="任意多边形 57"/>
                <p:cNvSpPr/>
                <p:nvPr/>
              </p:nvSpPr>
              <p:spPr>
                <a:xfrm rot="18453518">
                  <a:off x="712286" y="2680398"/>
                  <a:ext cx="376696" cy="945409"/>
                </a:xfrm>
                <a:custGeom>
                  <a:avLst/>
                  <a:gdLst>
                    <a:gd name="connsiteX0" fmla="*/ 1007807 w 2015614"/>
                    <a:gd name="connsiteY0" fmla="*/ 0 h 4367958"/>
                    <a:gd name="connsiteX1" fmla="*/ 1173272 w 2015614"/>
                    <a:gd name="connsiteY1" fmla="*/ 150385 h 4367958"/>
                    <a:gd name="connsiteX2" fmla="*/ 2015614 w 2015614"/>
                    <a:gd name="connsiteY2" fmla="*/ 2183979 h 4367958"/>
                    <a:gd name="connsiteX3" fmla="*/ 1173272 w 2015614"/>
                    <a:gd name="connsiteY3" fmla="*/ 4217573 h 4367958"/>
                    <a:gd name="connsiteX4" fmla="*/ 1007808 w 2015614"/>
                    <a:gd name="connsiteY4" fmla="*/ 4367958 h 4367958"/>
                    <a:gd name="connsiteX5" fmla="*/ 842342 w 2015614"/>
                    <a:gd name="connsiteY5" fmla="*/ 4217572 h 4367958"/>
                    <a:gd name="connsiteX6" fmla="*/ 0 w 2015614"/>
                    <a:gd name="connsiteY6" fmla="*/ 2183978 h 4367958"/>
                    <a:gd name="connsiteX7" fmla="*/ 842342 w 2015614"/>
                    <a:gd name="connsiteY7" fmla="*/ 150384 h 43679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15614" h="4367958">
                      <a:moveTo>
                        <a:pt x="1007807" y="0"/>
                      </a:moveTo>
                      <a:lnTo>
                        <a:pt x="1173272" y="150385"/>
                      </a:lnTo>
                      <a:cubicBezTo>
                        <a:pt x="1693714" y="670827"/>
                        <a:pt x="2015614" y="1389811"/>
                        <a:pt x="2015614" y="2183979"/>
                      </a:cubicBezTo>
                      <a:cubicBezTo>
                        <a:pt x="2015614" y="2978147"/>
                        <a:pt x="1693714" y="3697131"/>
                        <a:pt x="1173272" y="4217573"/>
                      </a:cubicBezTo>
                      <a:lnTo>
                        <a:pt x="1007808" y="4367958"/>
                      </a:lnTo>
                      <a:lnTo>
                        <a:pt x="842342" y="4217572"/>
                      </a:lnTo>
                      <a:cubicBezTo>
                        <a:pt x="321900" y="3697130"/>
                        <a:pt x="0" y="2978146"/>
                        <a:pt x="0" y="2183978"/>
                      </a:cubicBezTo>
                      <a:cubicBezTo>
                        <a:pt x="0" y="1389810"/>
                        <a:pt x="321900" y="670826"/>
                        <a:pt x="842342" y="150384"/>
                      </a:cubicBezTo>
                      <a:close/>
                    </a:path>
                  </a:pathLst>
                </a:custGeom>
                <a:gradFill>
                  <a:gsLst>
                    <a:gs pos="31000">
                      <a:srgbClr val="09D1AB">
                        <a:alpha val="15000"/>
                      </a:srgbClr>
                    </a:gs>
                    <a:gs pos="100000">
                      <a:srgbClr val="6E7DC3">
                        <a:alpha val="50000"/>
                      </a:srgbClr>
                    </a:gs>
                  </a:gsLst>
                  <a:lin ang="540000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59" name="任意多边形 58"/>
                <p:cNvSpPr/>
                <p:nvPr/>
              </p:nvSpPr>
              <p:spPr>
                <a:xfrm rot="16200000">
                  <a:off x="719645" y="3042462"/>
                  <a:ext cx="314355" cy="788949"/>
                </a:xfrm>
                <a:custGeom>
                  <a:avLst/>
                  <a:gdLst>
                    <a:gd name="connsiteX0" fmla="*/ 1007807 w 2015614"/>
                    <a:gd name="connsiteY0" fmla="*/ 0 h 4367958"/>
                    <a:gd name="connsiteX1" fmla="*/ 1173272 w 2015614"/>
                    <a:gd name="connsiteY1" fmla="*/ 150385 h 4367958"/>
                    <a:gd name="connsiteX2" fmla="*/ 2015614 w 2015614"/>
                    <a:gd name="connsiteY2" fmla="*/ 2183979 h 4367958"/>
                    <a:gd name="connsiteX3" fmla="*/ 1173272 w 2015614"/>
                    <a:gd name="connsiteY3" fmla="*/ 4217573 h 4367958"/>
                    <a:gd name="connsiteX4" fmla="*/ 1007808 w 2015614"/>
                    <a:gd name="connsiteY4" fmla="*/ 4367958 h 4367958"/>
                    <a:gd name="connsiteX5" fmla="*/ 842342 w 2015614"/>
                    <a:gd name="connsiteY5" fmla="*/ 4217572 h 4367958"/>
                    <a:gd name="connsiteX6" fmla="*/ 0 w 2015614"/>
                    <a:gd name="connsiteY6" fmla="*/ 2183978 h 4367958"/>
                    <a:gd name="connsiteX7" fmla="*/ 842342 w 2015614"/>
                    <a:gd name="connsiteY7" fmla="*/ 150384 h 43679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15614" h="4367958">
                      <a:moveTo>
                        <a:pt x="1007807" y="0"/>
                      </a:moveTo>
                      <a:lnTo>
                        <a:pt x="1173272" y="150385"/>
                      </a:lnTo>
                      <a:cubicBezTo>
                        <a:pt x="1693714" y="670827"/>
                        <a:pt x="2015614" y="1389811"/>
                        <a:pt x="2015614" y="2183979"/>
                      </a:cubicBezTo>
                      <a:cubicBezTo>
                        <a:pt x="2015614" y="2978147"/>
                        <a:pt x="1693714" y="3697131"/>
                        <a:pt x="1173272" y="4217573"/>
                      </a:cubicBezTo>
                      <a:lnTo>
                        <a:pt x="1007808" y="4367958"/>
                      </a:lnTo>
                      <a:lnTo>
                        <a:pt x="842342" y="4217572"/>
                      </a:lnTo>
                      <a:cubicBezTo>
                        <a:pt x="321900" y="3697130"/>
                        <a:pt x="0" y="2978146"/>
                        <a:pt x="0" y="2183978"/>
                      </a:cubicBezTo>
                      <a:cubicBezTo>
                        <a:pt x="0" y="1389810"/>
                        <a:pt x="321900" y="670826"/>
                        <a:pt x="842342" y="150384"/>
                      </a:cubicBezTo>
                      <a:close/>
                    </a:path>
                  </a:pathLst>
                </a:custGeom>
                <a:gradFill>
                  <a:gsLst>
                    <a:gs pos="31000">
                      <a:srgbClr val="09D1AB">
                        <a:alpha val="15000"/>
                      </a:srgbClr>
                    </a:gs>
                    <a:gs pos="100000">
                      <a:srgbClr val="6E7DC3">
                        <a:alpha val="50000"/>
                      </a:srgbClr>
                    </a:gs>
                  </a:gsLst>
                  <a:lin ang="540000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57" name="任意多边形 56"/>
              <p:cNvSpPr/>
              <p:nvPr/>
            </p:nvSpPr>
            <p:spPr>
              <a:xfrm rot="14363807">
                <a:off x="970960" y="4493742"/>
                <a:ext cx="228500" cy="573475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31000">
                    <a:srgbClr val="09D1AB">
                      <a:alpha val="15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60" name="任意多边形 59"/>
            <p:cNvSpPr/>
            <p:nvPr/>
          </p:nvSpPr>
          <p:spPr>
            <a:xfrm rot="12505876">
              <a:off x="1183270" y="5723511"/>
              <a:ext cx="148954" cy="373834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31000">
                  <a:srgbClr val="09D1AB">
                    <a:alpha val="15000"/>
                  </a:srgbClr>
                </a:gs>
                <a:gs pos="100000">
                  <a:srgbClr val="6E7DC3">
                    <a:alpha val="50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62" name="文本框 61"/>
          <p:cNvSpPr txBox="1"/>
          <p:nvPr/>
        </p:nvSpPr>
        <p:spPr>
          <a:xfrm>
            <a:off x="1695408" y="1825970"/>
            <a:ext cx="54242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实习</a:t>
            </a:r>
            <a:r>
              <a:rPr lang="zh-CN" altLang="en-US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公司</a:t>
            </a:r>
            <a:endParaRPr lang="en-US" altLang="zh-CN" sz="2400" b="1" dirty="0" smtClean="0">
              <a:solidFill>
                <a:schemeClr val="tx1">
                  <a:lumMod val="65000"/>
                  <a:lumOff val="35000"/>
                </a:schemeClr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  <a:p>
            <a:r>
              <a:rPr lang="zh-CN" altLang="en-US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西门子</a:t>
            </a:r>
            <a:r>
              <a:rPr lang="en-US" altLang="zh-CN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(</a:t>
            </a:r>
            <a:r>
              <a:rPr lang="zh-CN" altLang="en-US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中国</a:t>
            </a:r>
            <a:r>
              <a:rPr lang="en-US" altLang="zh-CN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)</a:t>
            </a:r>
            <a:r>
              <a:rPr lang="zh-CN" altLang="en-US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有限公司</a:t>
            </a:r>
            <a:endParaRPr lang="en-US" altLang="zh-CN" sz="2400" b="1" dirty="0" smtClean="0">
              <a:solidFill>
                <a:schemeClr val="tx1">
                  <a:lumMod val="65000"/>
                  <a:lumOff val="35000"/>
                </a:schemeClr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66" name="文本框 65"/>
          <p:cNvSpPr txBox="1"/>
          <p:nvPr/>
        </p:nvSpPr>
        <p:spPr>
          <a:xfrm>
            <a:off x="1695408" y="2936807"/>
            <a:ext cx="54242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时间节点</a:t>
            </a:r>
            <a:endParaRPr lang="en-US" altLang="zh-CN" sz="2400" b="1" dirty="0" smtClean="0">
              <a:solidFill>
                <a:schemeClr val="tx1">
                  <a:lumMod val="65000"/>
                  <a:lumOff val="35000"/>
                </a:schemeClr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  <a:p>
            <a:r>
              <a:rPr lang="en-US" altLang="zh-CN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2015.11.02  </a:t>
            </a:r>
            <a:r>
              <a:rPr lang="zh-CN" altLang="en-US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至今</a:t>
            </a:r>
            <a:endParaRPr lang="zh-CN" altLang="en-US" sz="2400" b="1" dirty="0">
              <a:solidFill>
                <a:schemeClr val="tx1">
                  <a:lumMod val="65000"/>
                  <a:lumOff val="35000"/>
                </a:schemeClr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67" name="文本框 66"/>
          <p:cNvSpPr txBox="1"/>
          <p:nvPr/>
        </p:nvSpPr>
        <p:spPr>
          <a:xfrm>
            <a:off x="1695408" y="4131140"/>
            <a:ext cx="54242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实习</a:t>
            </a:r>
            <a:r>
              <a:rPr lang="zh-CN" alt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岗位</a:t>
            </a:r>
            <a:endParaRPr lang="en-US" altLang="zh-CN" sz="2400" b="1" dirty="0" smtClean="0">
              <a:solidFill>
                <a:schemeClr val="tx1">
                  <a:lumMod val="65000"/>
                  <a:lumOff val="35000"/>
                </a:schemeClr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  <a:p>
            <a:r>
              <a:rPr lang="zh-CN" altLang="en-US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嵌入式开发</a:t>
            </a:r>
            <a:endParaRPr lang="zh-CN" altLang="en-US" sz="2400" b="1" dirty="0">
              <a:solidFill>
                <a:schemeClr val="tx1">
                  <a:lumMod val="65000"/>
                  <a:lumOff val="35000"/>
                </a:schemeClr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68" name="文本框 67"/>
          <p:cNvSpPr txBox="1"/>
          <p:nvPr/>
        </p:nvSpPr>
        <p:spPr>
          <a:xfrm>
            <a:off x="1695408" y="5390320"/>
            <a:ext cx="54242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工作内容</a:t>
            </a:r>
            <a:endParaRPr lang="en-US" altLang="zh-CN" sz="2400" b="1" dirty="0" smtClean="0">
              <a:solidFill>
                <a:schemeClr val="tx1">
                  <a:lumMod val="65000"/>
                  <a:lumOff val="35000"/>
                </a:schemeClr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  <a:p>
            <a:r>
              <a:rPr lang="en-US" altLang="zh-CN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STM32+eCos</a:t>
            </a:r>
            <a:r>
              <a:rPr lang="en-US" altLang="zh-CN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+</a:t>
            </a:r>
            <a:r>
              <a:rPr lang="en-US" altLang="zh-CN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profinet</a:t>
            </a:r>
            <a:r>
              <a:rPr lang="zh-CN" altLang="en-US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协议</a:t>
            </a:r>
            <a:endParaRPr lang="zh-CN" altLang="en-US" sz="2400" b="1" dirty="0">
              <a:solidFill>
                <a:schemeClr val="tx1">
                  <a:lumMod val="65000"/>
                  <a:lumOff val="35000"/>
                </a:schemeClr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69" name="任意多边形 68"/>
          <p:cNvSpPr/>
          <p:nvPr/>
        </p:nvSpPr>
        <p:spPr>
          <a:xfrm rot="13339749">
            <a:off x="6021878" y="5754428"/>
            <a:ext cx="1326876" cy="2024399"/>
          </a:xfrm>
          <a:custGeom>
            <a:avLst/>
            <a:gdLst>
              <a:gd name="connsiteX0" fmla="*/ 1007807 w 2015614"/>
              <a:gd name="connsiteY0" fmla="*/ 0 h 4367958"/>
              <a:gd name="connsiteX1" fmla="*/ 1173272 w 2015614"/>
              <a:gd name="connsiteY1" fmla="*/ 150385 h 4367958"/>
              <a:gd name="connsiteX2" fmla="*/ 2015614 w 2015614"/>
              <a:gd name="connsiteY2" fmla="*/ 2183979 h 4367958"/>
              <a:gd name="connsiteX3" fmla="*/ 1173272 w 2015614"/>
              <a:gd name="connsiteY3" fmla="*/ 4217573 h 4367958"/>
              <a:gd name="connsiteX4" fmla="*/ 1007808 w 2015614"/>
              <a:gd name="connsiteY4" fmla="*/ 4367958 h 4367958"/>
              <a:gd name="connsiteX5" fmla="*/ 842342 w 2015614"/>
              <a:gd name="connsiteY5" fmla="*/ 4217572 h 4367958"/>
              <a:gd name="connsiteX6" fmla="*/ 0 w 2015614"/>
              <a:gd name="connsiteY6" fmla="*/ 2183978 h 4367958"/>
              <a:gd name="connsiteX7" fmla="*/ 842342 w 2015614"/>
              <a:gd name="connsiteY7" fmla="*/ 150384 h 4367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15614" h="4367958">
                <a:moveTo>
                  <a:pt x="1007807" y="0"/>
                </a:moveTo>
                <a:lnTo>
                  <a:pt x="1173272" y="150385"/>
                </a:lnTo>
                <a:cubicBezTo>
                  <a:pt x="1693714" y="670827"/>
                  <a:pt x="2015614" y="1389811"/>
                  <a:pt x="2015614" y="2183979"/>
                </a:cubicBezTo>
                <a:cubicBezTo>
                  <a:pt x="2015614" y="2978147"/>
                  <a:pt x="1693714" y="3697131"/>
                  <a:pt x="1173272" y="4217573"/>
                </a:cubicBezTo>
                <a:lnTo>
                  <a:pt x="1007808" y="4367958"/>
                </a:lnTo>
                <a:lnTo>
                  <a:pt x="842342" y="4217572"/>
                </a:lnTo>
                <a:cubicBezTo>
                  <a:pt x="321900" y="3697130"/>
                  <a:pt x="0" y="2978146"/>
                  <a:pt x="0" y="2183978"/>
                </a:cubicBezTo>
                <a:cubicBezTo>
                  <a:pt x="0" y="1389810"/>
                  <a:pt x="321900" y="670826"/>
                  <a:pt x="842342" y="150384"/>
                </a:cubicBezTo>
                <a:close/>
              </a:path>
            </a:pathLst>
          </a:custGeom>
          <a:solidFill>
            <a:srgbClr val="E3FBE8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0" name="任意多边形 69"/>
          <p:cNvSpPr/>
          <p:nvPr/>
        </p:nvSpPr>
        <p:spPr>
          <a:xfrm rot="12345969">
            <a:off x="10224407" y="5833229"/>
            <a:ext cx="417234" cy="1397640"/>
          </a:xfrm>
          <a:custGeom>
            <a:avLst/>
            <a:gdLst>
              <a:gd name="connsiteX0" fmla="*/ 1007807 w 2015614"/>
              <a:gd name="connsiteY0" fmla="*/ 0 h 4367958"/>
              <a:gd name="connsiteX1" fmla="*/ 1173272 w 2015614"/>
              <a:gd name="connsiteY1" fmla="*/ 150385 h 4367958"/>
              <a:gd name="connsiteX2" fmla="*/ 2015614 w 2015614"/>
              <a:gd name="connsiteY2" fmla="*/ 2183979 h 4367958"/>
              <a:gd name="connsiteX3" fmla="*/ 1173272 w 2015614"/>
              <a:gd name="connsiteY3" fmla="*/ 4217573 h 4367958"/>
              <a:gd name="connsiteX4" fmla="*/ 1007808 w 2015614"/>
              <a:gd name="connsiteY4" fmla="*/ 4367958 h 4367958"/>
              <a:gd name="connsiteX5" fmla="*/ 842342 w 2015614"/>
              <a:gd name="connsiteY5" fmla="*/ 4217572 h 4367958"/>
              <a:gd name="connsiteX6" fmla="*/ 0 w 2015614"/>
              <a:gd name="connsiteY6" fmla="*/ 2183978 h 4367958"/>
              <a:gd name="connsiteX7" fmla="*/ 842342 w 2015614"/>
              <a:gd name="connsiteY7" fmla="*/ 150384 h 4367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15614" h="4367958">
                <a:moveTo>
                  <a:pt x="1007807" y="0"/>
                </a:moveTo>
                <a:lnTo>
                  <a:pt x="1173272" y="150385"/>
                </a:lnTo>
                <a:cubicBezTo>
                  <a:pt x="1693714" y="670827"/>
                  <a:pt x="2015614" y="1389811"/>
                  <a:pt x="2015614" y="2183979"/>
                </a:cubicBezTo>
                <a:cubicBezTo>
                  <a:pt x="2015614" y="2978147"/>
                  <a:pt x="1693714" y="3697131"/>
                  <a:pt x="1173272" y="4217573"/>
                </a:cubicBezTo>
                <a:lnTo>
                  <a:pt x="1007808" y="4367958"/>
                </a:lnTo>
                <a:lnTo>
                  <a:pt x="842342" y="4217572"/>
                </a:lnTo>
                <a:cubicBezTo>
                  <a:pt x="321900" y="3697130"/>
                  <a:pt x="0" y="2978146"/>
                  <a:pt x="0" y="2183978"/>
                </a:cubicBezTo>
                <a:cubicBezTo>
                  <a:pt x="0" y="1389810"/>
                  <a:pt x="321900" y="670826"/>
                  <a:pt x="842342" y="150384"/>
                </a:cubicBezTo>
                <a:close/>
              </a:path>
            </a:pathLst>
          </a:custGeom>
          <a:solidFill>
            <a:srgbClr val="D7F5E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1" name="任意多边形 70"/>
          <p:cNvSpPr/>
          <p:nvPr/>
        </p:nvSpPr>
        <p:spPr>
          <a:xfrm rot="17074171">
            <a:off x="6048282" y="-1458659"/>
            <a:ext cx="1108767" cy="2477348"/>
          </a:xfrm>
          <a:custGeom>
            <a:avLst/>
            <a:gdLst>
              <a:gd name="connsiteX0" fmla="*/ 1007807 w 2015614"/>
              <a:gd name="connsiteY0" fmla="*/ 0 h 4367958"/>
              <a:gd name="connsiteX1" fmla="*/ 1173272 w 2015614"/>
              <a:gd name="connsiteY1" fmla="*/ 150385 h 4367958"/>
              <a:gd name="connsiteX2" fmla="*/ 2015614 w 2015614"/>
              <a:gd name="connsiteY2" fmla="*/ 2183979 h 4367958"/>
              <a:gd name="connsiteX3" fmla="*/ 1173272 w 2015614"/>
              <a:gd name="connsiteY3" fmla="*/ 4217573 h 4367958"/>
              <a:gd name="connsiteX4" fmla="*/ 1007808 w 2015614"/>
              <a:gd name="connsiteY4" fmla="*/ 4367958 h 4367958"/>
              <a:gd name="connsiteX5" fmla="*/ 842342 w 2015614"/>
              <a:gd name="connsiteY5" fmla="*/ 4217572 h 4367958"/>
              <a:gd name="connsiteX6" fmla="*/ 0 w 2015614"/>
              <a:gd name="connsiteY6" fmla="*/ 2183978 h 4367958"/>
              <a:gd name="connsiteX7" fmla="*/ 842342 w 2015614"/>
              <a:gd name="connsiteY7" fmla="*/ 150384 h 4367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15614" h="4367958">
                <a:moveTo>
                  <a:pt x="1007807" y="0"/>
                </a:moveTo>
                <a:lnTo>
                  <a:pt x="1173272" y="150385"/>
                </a:lnTo>
                <a:cubicBezTo>
                  <a:pt x="1693714" y="670827"/>
                  <a:pt x="2015614" y="1389811"/>
                  <a:pt x="2015614" y="2183979"/>
                </a:cubicBezTo>
                <a:cubicBezTo>
                  <a:pt x="2015614" y="2978147"/>
                  <a:pt x="1693714" y="3697131"/>
                  <a:pt x="1173272" y="4217573"/>
                </a:cubicBezTo>
                <a:lnTo>
                  <a:pt x="1007808" y="4367958"/>
                </a:lnTo>
                <a:lnTo>
                  <a:pt x="842342" y="4217572"/>
                </a:lnTo>
                <a:cubicBezTo>
                  <a:pt x="321900" y="3697130"/>
                  <a:pt x="0" y="2978146"/>
                  <a:pt x="0" y="2183978"/>
                </a:cubicBezTo>
                <a:cubicBezTo>
                  <a:pt x="0" y="1389810"/>
                  <a:pt x="321900" y="670826"/>
                  <a:pt x="842342" y="150384"/>
                </a:cubicBezTo>
                <a:close/>
              </a:path>
            </a:pathLst>
          </a:custGeom>
          <a:solidFill>
            <a:schemeClr val="bg1">
              <a:lumMod val="9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55891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任意多边形 49"/>
          <p:cNvSpPr/>
          <p:nvPr/>
        </p:nvSpPr>
        <p:spPr>
          <a:xfrm rot="3230023">
            <a:off x="10707644" y="1938539"/>
            <a:ext cx="507058" cy="1272584"/>
          </a:xfrm>
          <a:custGeom>
            <a:avLst/>
            <a:gdLst>
              <a:gd name="connsiteX0" fmla="*/ 1007807 w 2015614"/>
              <a:gd name="connsiteY0" fmla="*/ 0 h 4367958"/>
              <a:gd name="connsiteX1" fmla="*/ 1173272 w 2015614"/>
              <a:gd name="connsiteY1" fmla="*/ 150385 h 4367958"/>
              <a:gd name="connsiteX2" fmla="*/ 2015614 w 2015614"/>
              <a:gd name="connsiteY2" fmla="*/ 2183979 h 4367958"/>
              <a:gd name="connsiteX3" fmla="*/ 1173272 w 2015614"/>
              <a:gd name="connsiteY3" fmla="*/ 4217573 h 4367958"/>
              <a:gd name="connsiteX4" fmla="*/ 1007808 w 2015614"/>
              <a:gd name="connsiteY4" fmla="*/ 4367958 h 4367958"/>
              <a:gd name="connsiteX5" fmla="*/ 842342 w 2015614"/>
              <a:gd name="connsiteY5" fmla="*/ 4217572 h 4367958"/>
              <a:gd name="connsiteX6" fmla="*/ 0 w 2015614"/>
              <a:gd name="connsiteY6" fmla="*/ 2183978 h 4367958"/>
              <a:gd name="connsiteX7" fmla="*/ 842342 w 2015614"/>
              <a:gd name="connsiteY7" fmla="*/ 150384 h 4367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15614" h="4367958">
                <a:moveTo>
                  <a:pt x="1007807" y="0"/>
                </a:moveTo>
                <a:lnTo>
                  <a:pt x="1173272" y="150385"/>
                </a:lnTo>
                <a:cubicBezTo>
                  <a:pt x="1693714" y="670827"/>
                  <a:pt x="2015614" y="1389811"/>
                  <a:pt x="2015614" y="2183979"/>
                </a:cubicBezTo>
                <a:cubicBezTo>
                  <a:pt x="2015614" y="2978147"/>
                  <a:pt x="1693714" y="3697131"/>
                  <a:pt x="1173272" y="4217573"/>
                </a:cubicBezTo>
                <a:lnTo>
                  <a:pt x="1007808" y="4367958"/>
                </a:lnTo>
                <a:lnTo>
                  <a:pt x="842342" y="4217572"/>
                </a:lnTo>
                <a:cubicBezTo>
                  <a:pt x="321900" y="3697130"/>
                  <a:pt x="0" y="2978146"/>
                  <a:pt x="0" y="2183978"/>
                </a:cubicBezTo>
                <a:cubicBezTo>
                  <a:pt x="0" y="1389810"/>
                  <a:pt x="321900" y="670826"/>
                  <a:pt x="842342" y="150384"/>
                </a:cubicBezTo>
                <a:close/>
              </a:path>
            </a:pathLst>
          </a:custGeom>
          <a:gradFill>
            <a:gsLst>
              <a:gs pos="31000">
                <a:srgbClr val="09D1AB">
                  <a:alpha val="15000"/>
                </a:srgbClr>
              </a:gs>
              <a:gs pos="100000">
                <a:srgbClr val="6E7DC3">
                  <a:alpha val="5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文本框 2"/>
          <p:cNvSpPr txBox="1"/>
          <p:nvPr/>
        </p:nvSpPr>
        <p:spPr>
          <a:xfrm>
            <a:off x="4642177" y="2833527"/>
            <a:ext cx="5997131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5000" b="1" dirty="0" smtClean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基于小型嵌入式系统</a:t>
            </a:r>
            <a:endParaRPr lang="zh-CN" altLang="en-US" sz="5000" b="1" dirty="0"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grpSp>
        <p:nvGrpSpPr>
          <p:cNvPr id="52" name="组合 51"/>
          <p:cNvGrpSpPr/>
          <p:nvPr/>
        </p:nvGrpSpPr>
        <p:grpSpPr>
          <a:xfrm rot="5400000">
            <a:off x="-3671988" y="93848"/>
            <a:ext cx="11514278" cy="6743327"/>
            <a:chOff x="-5343060" y="-3962027"/>
            <a:chExt cx="22838079" cy="13375101"/>
          </a:xfrm>
        </p:grpSpPr>
        <p:grpSp>
          <p:nvGrpSpPr>
            <p:cNvPr id="53" name="花1"/>
            <p:cNvGrpSpPr/>
            <p:nvPr/>
          </p:nvGrpSpPr>
          <p:grpSpPr>
            <a:xfrm>
              <a:off x="1859121" y="3546988"/>
              <a:ext cx="8526317" cy="4848472"/>
              <a:chOff x="1859121" y="3429000"/>
              <a:chExt cx="8526317" cy="4848472"/>
            </a:xfrm>
          </p:grpSpPr>
          <p:sp>
            <p:nvSpPr>
              <p:cNvPr id="88" name="任意多边形 87"/>
              <p:cNvSpPr/>
              <p:nvPr/>
            </p:nvSpPr>
            <p:spPr>
              <a:xfrm>
                <a:off x="5088193" y="3429000"/>
                <a:ext cx="2015614" cy="4367958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56600">
                    <a:srgbClr val="ADB5DD">
                      <a:alpha val="35000"/>
                    </a:srgbClr>
                  </a:gs>
                  <a:gs pos="0">
                    <a:srgbClr val="C1FFEF">
                      <a:alpha val="49804"/>
                    </a:srgbClr>
                  </a:gs>
                  <a:gs pos="100000">
                    <a:srgbClr val="6E7DC3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9" name="任意多边形 88"/>
              <p:cNvSpPr/>
              <p:nvPr/>
            </p:nvSpPr>
            <p:spPr>
              <a:xfrm rot="19862953">
                <a:off x="4038181" y="3686122"/>
                <a:ext cx="2015614" cy="4367958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56600">
                    <a:srgbClr val="ADB5DD">
                      <a:alpha val="35000"/>
                    </a:srgbClr>
                  </a:gs>
                  <a:gs pos="0">
                    <a:srgbClr val="C1FFEF">
                      <a:alpha val="49804"/>
                    </a:srgbClr>
                  </a:gs>
                  <a:gs pos="100000">
                    <a:srgbClr val="6E7DC3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0" name="任意多边形 89"/>
              <p:cNvSpPr/>
              <p:nvPr/>
            </p:nvSpPr>
            <p:spPr>
              <a:xfrm rot="1791145">
                <a:off x="6081931" y="3648293"/>
                <a:ext cx="2015614" cy="4367958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56600">
                    <a:srgbClr val="ADB5DD">
                      <a:alpha val="35000"/>
                    </a:srgbClr>
                  </a:gs>
                  <a:gs pos="0">
                    <a:srgbClr val="C1FFEF">
                      <a:alpha val="49804"/>
                    </a:srgbClr>
                  </a:gs>
                  <a:gs pos="100000">
                    <a:srgbClr val="6E7DC3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1" name="任意多边形 90"/>
              <p:cNvSpPr/>
              <p:nvPr/>
            </p:nvSpPr>
            <p:spPr>
              <a:xfrm rot="3361456">
                <a:off x="6916490" y="4377466"/>
                <a:ext cx="2015614" cy="4367958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56600">
                    <a:srgbClr val="ADB5DD">
                      <a:alpha val="35000"/>
                    </a:srgbClr>
                  </a:gs>
                  <a:gs pos="0">
                    <a:srgbClr val="C1FFEF">
                      <a:alpha val="49804"/>
                    </a:srgbClr>
                  </a:gs>
                  <a:gs pos="100000">
                    <a:srgbClr val="6E7DC3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2" name="任意多边形 91"/>
              <p:cNvSpPr/>
              <p:nvPr/>
            </p:nvSpPr>
            <p:spPr>
              <a:xfrm rot="18029728">
                <a:off x="3346961" y="4377776"/>
                <a:ext cx="2015614" cy="4367958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56600">
                    <a:srgbClr val="ADB5DD">
                      <a:alpha val="35000"/>
                    </a:srgbClr>
                  </a:gs>
                  <a:gs pos="0">
                    <a:srgbClr val="C1FFEF">
                      <a:alpha val="49804"/>
                    </a:srgbClr>
                  </a:gs>
                  <a:gs pos="100000">
                    <a:srgbClr val="6E7DC3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3" name="任意多边形 92"/>
              <p:cNvSpPr/>
              <p:nvPr/>
            </p:nvSpPr>
            <p:spPr>
              <a:xfrm rot="4636883">
                <a:off x="7193652" y="5085686"/>
                <a:ext cx="2015614" cy="4367958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56600">
                    <a:srgbClr val="ADB5DD">
                      <a:alpha val="35000"/>
                    </a:srgbClr>
                  </a:gs>
                  <a:gs pos="0">
                    <a:srgbClr val="C1FFEF">
                      <a:alpha val="49804"/>
                    </a:srgbClr>
                  </a:gs>
                  <a:gs pos="100000">
                    <a:srgbClr val="6E7DC3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4" name="任意多边形 93"/>
              <p:cNvSpPr/>
              <p:nvPr/>
            </p:nvSpPr>
            <p:spPr>
              <a:xfrm rot="16978576">
                <a:off x="3035293" y="5077119"/>
                <a:ext cx="2015614" cy="4367958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56600">
                    <a:srgbClr val="ADB5DD">
                      <a:alpha val="35000"/>
                    </a:srgbClr>
                  </a:gs>
                  <a:gs pos="0">
                    <a:srgbClr val="C1FFEF">
                      <a:alpha val="49804"/>
                    </a:srgbClr>
                  </a:gs>
                  <a:gs pos="100000">
                    <a:srgbClr val="6E7DC3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54" name="花2"/>
            <p:cNvGrpSpPr/>
            <p:nvPr/>
          </p:nvGrpSpPr>
          <p:grpSpPr>
            <a:xfrm>
              <a:off x="-389727" y="1491439"/>
              <a:ext cx="12996258" cy="7478907"/>
              <a:chOff x="-389727" y="1373451"/>
              <a:chExt cx="12996258" cy="7478907"/>
            </a:xfrm>
          </p:grpSpPr>
          <p:sp>
            <p:nvSpPr>
              <p:cNvPr id="80" name="任意多边形 79"/>
              <p:cNvSpPr/>
              <p:nvPr/>
            </p:nvSpPr>
            <p:spPr>
              <a:xfrm rot="20738027">
                <a:off x="4131678" y="1398019"/>
                <a:ext cx="2319644" cy="6516445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77000">
                    <a:srgbClr val="9FB7DD">
                      <a:alpha val="20000"/>
                    </a:srgbClr>
                  </a:gs>
                  <a:gs pos="0">
                    <a:srgbClr val="A1DBB3">
                      <a:alpha val="50000"/>
                    </a:srgbClr>
                  </a:gs>
                  <a:gs pos="100000">
                    <a:srgbClr val="6E7DC3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1" name="任意多边形 80"/>
              <p:cNvSpPr/>
              <p:nvPr/>
            </p:nvSpPr>
            <p:spPr>
              <a:xfrm rot="852536">
                <a:off x="5736820" y="1373451"/>
                <a:ext cx="2319644" cy="6516445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77000">
                    <a:srgbClr val="9FB7DD">
                      <a:alpha val="20000"/>
                    </a:srgbClr>
                  </a:gs>
                  <a:gs pos="0">
                    <a:srgbClr val="A1DBB3">
                      <a:alpha val="50000"/>
                    </a:srgbClr>
                  </a:gs>
                  <a:gs pos="100000">
                    <a:srgbClr val="6E7DC3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2" name="任意多边形 81"/>
              <p:cNvSpPr/>
              <p:nvPr/>
            </p:nvSpPr>
            <p:spPr>
              <a:xfrm rot="2517796">
                <a:off x="7178662" y="2080056"/>
                <a:ext cx="2319644" cy="6516445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53000">
                    <a:srgbClr val="86A4D4">
                      <a:alpha val="20000"/>
                    </a:srgbClr>
                  </a:gs>
                  <a:gs pos="0">
                    <a:srgbClr val="85D19D">
                      <a:alpha val="60000"/>
                    </a:srgbClr>
                  </a:gs>
                  <a:gs pos="100000">
                    <a:srgbClr val="8E7DCB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3" name="任意多边形 82"/>
              <p:cNvSpPr/>
              <p:nvPr/>
            </p:nvSpPr>
            <p:spPr>
              <a:xfrm rot="19054139">
                <a:off x="2747823" y="2122596"/>
                <a:ext cx="2319644" cy="6516445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53000">
                    <a:srgbClr val="86A4D4">
                      <a:alpha val="20000"/>
                    </a:srgbClr>
                  </a:gs>
                  <a:gs pos="0">
                    <a:srgbClr val="85D19D">
                      <a:alpha val="60000"/>
                    </a:srgbClr>
                  </a:gs>
                  <a:gs pos="100000">
                    <a:srgbClr val="8E7DCB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4" name="任意多边形 83"/>
              <p:cNvSpPr/>
              <p:nvPr/>
            </p:nvSpPr>
            <p:spPr>
              <a:xfrm rot="17559371">
                <a:off x="1848075" y="3501639"/>
                <a:ext cx="2319644" cy="6516445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0">
                    <a:srgbClr val="809ECE">
                      <a:alpha val="50000"/>
                    </a:srgbClr>
                  </a:gs>
                  <a:gs pos="100000">
                    <a:srgbClr val="8E7ECC">
                      <a:alpha val="2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5" name="任意多边形 84"/>
              <p:cNvSpPr/>
              <p:nvPr/>
            </p:nvSpPr>
            <p:spPr>
              <a:xfrm rot="4135283">
                <a:off x="8014973" y="3462129"/>
                <a:ext cx="2319644" cy="6516445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0">
                    <a:srgbClr val="809ECE">
                      <a:alpha val="50000"/>
                    </a:srgbClr>
                  </a:gs>
                  <a:gs pos="100000">
                    <a:srgbClr val="8E7ECC">
                      <a:alpha val="2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6" name="任意多边形 85"/>
              <p:cNvSpPr/>
              <p:nvPr/>
            </p:nvSpPr>
            <p:spPr>
              <a:xfrm rot="5400000">
                <a:off x="8188487" y="4434313"/>
                <a:ext cx="2319644" cy="6516445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7100">
                    <a:srgbClr val="9EB3DC">
                      <a:alpha val="20000"/>
                    </a:srgbClr>
                  </a:gs>
                  <a:gs pos="100000">
                    <a:srgbClr val="8E7BCB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7" name="任意多边形 86"/>
              <p:cNvSpPr/>
              <p:nvPr/>
            </p:nvSpPr>
            <p:spPr>
              <a:xfrm rot="16372431">
                <a:off x="1708674" y="4330668"/>
                <a:ext cx="2319644" cy="6516445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10600">
                    <a:srgbClr val="9DB0DB">
                      <a:alpha val="20000"/>
                    </a:srgbClr>
                  </a:gs>
                  <a:gs pos="100000">
                    <a:srgbClr val="8D75C9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55" name="花3"/>
            <p:cNvGrpSpPr/>
            <p:nvPr/>
          </p:nvGrpSpPr>
          <p:grpSpPr>
            <a:xfrm>
              <a:off x="-3145042" y="-1414243"/>
              <a:ext cx="18624069" cy="10634847"/>
              <a:chOff x="-3145042" y="-1532231"/>
              <a:chExt cx="18624069" cy="10634847"/>
            </a:xfrm>
          </p:grpSpPr>
          <p:sp>
            <p:nvSpPr>
              <p:cNvPr id="73" name="任意多边形 72"/>
              <p:cNvSpPr/>
              <p:nvPr/>
            </p:nvSpPr>
            <p:spPr>
              <a:xfrm rot="1690499">
                <a:off x="6526961" y="-940137"/>
                <a:ext cx="3551344" cy="927991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47000">
                    <a:srgbClr val="50BBD4">
                      <a:alpha val="30000"/>
                    </a:srgbClr>
                  </a:gs>
                  <a:gs pos="0">
                    <a:srgbClr val="75FFBA">
                      <a:alpha val="20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4" name="任意多边形 73"/>
              <p:cNvSpPr/>
              <p:nvPr/>
            </p:nvSpPr>
            <p:spPr>
              <a:xfrm>
                <a:off x="4339025" y="-1532231"/>
                <a:ext cx="3551344" cy="927991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47000">
                    <a:srgbClr val="52CAB3">
                      <a:alpha val="20000"/>
                    </a:srgbClr>
                  </a:gs>
                  <a:gs pos="0">
                    <a:srgbClr val="75FFBA">
                      <a:alpha val="20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5" name="任意多边形 74"/>
              <p:cNvSpPr/>
              <p:nvPr/>
            </p:nvSpPr>
            <p:spPr>
              <a:xfrm rot="19892438">
                <a:off x="2131972" y="-936972"/>
                <a:ext cx="3551344" cy="927991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47000">
                    <a:srgbClr val="50BBD4">
                      <a:alpha val="30000"/>
                    </a:srgbClr>
                  </a:gs>
                  <a:gs pos="0">
                    <a:srgbClr val="75FFBA">
                      <a:alpha val="20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6" name="任意多边形 75"/>
              <p:cNvSpPr/>
              <p:nvPr/>
            </p:nvSpPr>
            <p:spPr>
              <a:xfrm rot="3302765">
                <a:off x="8173152" y="550986"/>
                <a:ext cx="3551344" cy="927991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47000">
                    <a:srgbClr val="229DD4">
                      <a:alpha val="29804"/>
                    </a:srgbClr>
                  </a:gs>
                  <a:gs pos="0">
                    <a:srgbClr val="75FFBA">
                      <a:alpha val="10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7" name="任意多边形 76"/>
              <p:cNvSpPr/>
              <p:nvPr/>
            </p:nvSpPr>
            <p:spPr>
              <a:xfrm rot="18136260">
                <a:off x="672304" y="621968"/>
                <a:ext cx="3551344" cy="927991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47000">
                    <a:srgbClr val="229DD4">
                      <a:alpha val="29804"/>
                    </a:srgbClr>
                  </a:gs>
                  <a:gs pos="0">
                    <a:srgbClr val="75FFBA">
                      <a:alpha val="10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8" name="任意多边形 77"/>
              <p:cNvSpPr/>
              <p:nvPr/>
            </p:nvSpPr>
            <p:spPr>
              <a:xfrm rot="16617164">
                <a:off x="-280759" y="2629710"/>
                <a:ext cx="3551344" cy="927991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0">
                    <a:srgbClr val="86A4D4">
                      <a:alpha val="20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9" name="任意多边形 78"/>
              <p:cNvSpPr/>
              <p:nvPr/>
            </p:nvSpPr>
            <p:spPr>
              <a:xfrm rot="5131813">
                <a:off x="9063400" y="2686989"/>
                <a:ext cx="3551344" cy="927991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0">
                    <a:srgbClr val="86A4D4">
                      <a:alpha val="20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56" name="花4"/>
            <p:cNvGrpSpPr/>
            <p:nvPr/>
          </p:nvGrpSpPr>
          <p:grpSpPr>
            <a:xfrm>
              <a:off x="-5343060" y="-3962027"/>
              <a:ext cx="22838079" cy="13375101"/>
              <a:chOff x="-5343060" y="-4080015"/>
              <a:chExt cx="22838079" cy="13375101"/>
            </a:xfrm>
          </p:grpSpPr>
          <p:sp>
            <p:nvSpPr>
              <p:cNvPr id="67" name="任意多边形 66"/>
              <p:cNvSpPr/>
              <p:nvPr/>
            </p:nvSpPr>
            <p:spPr>
              <a:xfrm rot="20648648">
                <a:off x="2646809" y="-3991015"/>
                <a:ext cx="3586635" cy="1190746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31000">
                    <a:srgbClr val="5AF878">
                      <a:alpha val="15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8" name="任意多边形 67"/>
              <p:cNvSpPr/>
              <p:nvPr/>
            </p:nvSpPr>
            <p:spPr>
              <a:xfrm rot="1075034">
                <a:off x="6054006" y="-4080015"/>
                <a:ext cx="3586635" cy="1190746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31000">
                    <a:srgbClr val="5AF878">
                      <a:alpha val="25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9" name="任意多边形 68"/>
              <p:cNvSpPr/>
              <p:nvPr/>
            </p:nvSpPr>
            <p:spPr>
              <a:xfrm rot="2492382">
                <a:off x="8262931" y="-2612374"/>
                <a:ext cx="3586634" cy="11907459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31000">
                    <a:srgbClr val="09D1AB">
                      <a:alpha val="15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0" name="任意多边形 69"/>
              <p:cNvSpPr/>
              <p:nvPr/>
            </p:nvSpPr>
            <p:spPr>
              <a:xfrm rot="18948373">
                <a:off x="216173" y="-2612374"/>
                <a:ext cx="3586635" cy="1190746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31000">
                    <a:srgbClr val="09D1AB">
                      <a:alpha val="15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1" name="任意多边形 70"/>
              <p:cNvSpPr/>
              <p:nvPr/>
            </p:nvSpPr>
            <p:spPr>
              <a:xfrm rot="4080311">
                <a:off x="9747971" y="-477004"/>
                <a:ext cx="3586635" cy="1190746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31000">
                    <a:srgbClr val="0A80D0">
                      <a:alpha val="14902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2" name="任意多边形 71"/>
              <p:cNvSpPr/>
              <p:nvPr/>
            </p:nvSpPr>
            <p:spPr>
              <a:xfrm rot="17262051">
                <a:off x="-1182648" y="-62449"/>
                <a:ext cx="3586635" cy="1190746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31000">
                    <a:srgbClr val="0A80D0">
                      <a:alpha val="14902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57" name="组合 56"/>
            <p:cNvGrpSpPr/>
            <p:nvPr/>
          </p:nvGrpSpPr>
          <p:grpSpPr>
            <a:xfrm>
              <a:off x="2993439" y="4630880"/>
              <a:ext cx="6171429" cy="3725279"/>
              <a:chOff x="2993439" y="4630880"/>
              <a:chExt cx="6171429" cy="3725279"/>
            </a:xfrm>
          </p:grpSpPr>
          <p:sp>
            <p:nvSpPr>
              <p:cNvPr id="58" name="任意多边形 57"/>
              <p:cNvSpPr/>
              <p:nvPr/>
            </p:nvSpPr>
            <p:spPr>
              <a:xfrm>
                <a:off x="5805166" y="4630880"/>
                <a:ext cx="595327" cy="3357947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solidFill>
                <a:schemeClr val="bg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9" name="任意多边形 58"/>
              <p:cNvSpPr/>
              <p:nvPr/>
            </p:nvSpPr>
            <p:spPr>
              <a:xfrm rot="1072922">
                <a:off x="6319816" y="4729971"/>
                <a:ext cx="595327" cy="3357947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solidFill>
                <a:schemeClr val="bg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0" name="任意多边形 59"/>
              <p:cNvSpPr/>
              <p:nvPr/>
            </p:nvSpPr>
            <p:spPr>
              <a:xfrm rot="20479144">
                <a:off x="5292991" y="4751348"/>
                <a:ext cx="595327" cy="3357947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solidFill>
                <a:schemeClr val="bg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1" name="任意多边形 60"/>
              <p:cNvSpPr/>
              <p:nvPr/>
            </p:nvSpPr>
            <p:spPr>
              <a:xfrm rot="1888215">
                <a:off x="6682185" y="4992537"/>
                <a:ext cx="595327" cy="3357947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solidFill>
                <a:schemeClr val="bg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2" name="任意多边形 61"/>
              <p:cNvSpPr/>
              <p:nvPr/>
            </p:nvSpPr>
            <p:spPr>
              <a:xfrm rot="19502102">
                <a:off x="4898947" y="4998212"/>
                <a:ext cx="595327" cy="3357947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solidFill>
                <a:schemeClr val="bg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3" name="任意多边形 62"/>
              <p:cNvSpPr/>
              <p:nvPr/>
            </p:nvSpPr>
            <p:spPr>
              <a:xfrm rot="2750473">
                <a:off x="6921793" y="5260766"/>
                <a:ext cx="595327" cy="3357947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solidFill>
                <a:schemeClr val="bg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4" name="任意多边形 63"/>
              <p:cNvSpPr/>
              <p:nvPr/>
            </p:nvSpPr>
            <p:spPr>
              <a:xfrm rot="3552967">
                <a:off x="7188231" y="5502371"/>
                <a:ext cx="595327" cy="3357947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solidFill>
                <a:schemeClr val="bg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5" name="任意多边形 64"/>
              <p:cNvSpPr/>
              <p:nvPr/>
            </p:nvSpPr>
            <p:spPr>
              <a:xfrm rot="18615097">
                <a:off x="4571391" y="5292408"/>
                <a:ext cx="595327" cy="3357947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solidFill>
                <a:schemeClr val="bg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6" name="任意多边形 65"/>
              <p:cNvSpPr/>
              <p:nvPr/>
            </p:nvSpPr>
            <p:spPr>
              <a:xfrm rot="17950328">
                <a:off x="4374749" y="5584427"/>
                <a:ext cx="595327" cy="3357947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solidFill>
                <a:schemeClr val="bg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95" name="任意多边形 94"/>
          <p:cNvSpPr/>
          <p:nvPr/>
        </p:nvSpPr>
        <p:spPr>
          <a:xfrm rot="3325521">
            <a:off x="5815419" y="-1770215"/>
            <a:ext cx="1890999" cy="3165950"/>
          </a:xfrm>
          <a:custGeom>
            <a:avLst/>
            <a:gdLst>
              <a:gd name="connsiteX0" fmla="*/ 1007807 w 2015614"/>
              <a:gd name="connsiteY0" fmla="*/ 0 h 4367958"/>
              <a:gd name="connsiteX1" fmla="*/ 1173272 w 2015614"/>
              <a:gd name="connsiteY1" fmla="*/ 150385 h 4367958"/>
              <a:gd name="connsiteX2" fmla="*/ 2015614 w 2015614"/>
              <a:gd name="connsiteY2" fmla="*/ 2183979 h 4367958"/>
              <a:gd name="connsiteX3" fmla="*/ 1173272 w 2015614"/>
              <a:gd name="connsiteY3" fmla="*/ 4217573 h 4367958"/>
              <a:gd name="connsiteX4" fmla="*/ 1007808 w 2015614"/>
              <a:gd name="connsiteY4" fmla="*/ 4367958 h 4367958"/>
              <a:gd name="connsiteX5" fmla="*/ 842342 w 2015614"/>
              <a:gd name="connsiteY5" fmla="*/ 4217572 h 4367958"/>
              <a:gd name="connsiteX6" fmla="*/ 0 w 2015614"/>
              <a:gd name="connsiteY6" fmla="*/ 2183978 h 4367958"/>
              <a:gd name="connsiteX7" fmla="*/ 842342 w 2015614"/>
              <a:gd name="connsiteY7" fmla="*/ 150384 h 4367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15614" h="4367958">
                <a:moveTo>
                  <a:pt x="1007807" y="0"/>
                </a:moveTo>
                <a:lnTo>
                  <a:pt x="1173272" y="150385"/>
                </a:lnTo>
                <a:cubicBezTo>
                  <a:pt x="1693714" y="670827"/>
                  <a:pt x="2015614" y="1389811"/>
                  <a:pt x="2015614" y="2183979"/>
                </a:cubicBezTo>
                <a:cubicBezTo>
                  <a:pt x="2015614" y="2978147"/>
                  <a:pt x="1693714" y="3697131"/>
                  <a:pt x="1173272" y="4217573"/>
                </a:cubicBezTo>
                <a:lnTo>
                  <a:pt x="1007808" y="4367958"/>
                </a:lnTo>
                <a:lnTo>
                  <a:pt x="842342" y="4217572"/>
                </a:lnTo>
                <a:cubicBezTo>
                  <a:pt x="321900" y="3697130"/>
                  <a:pt x="0" y="2978146"/>
                  <a:pt x="0" y="2183978"/>
                </a:cubicBezTo>
                <a:cubicBezTo>
                  <a:pt x="0" y="1389810"/>
                  <a:pt x="321900" y="670826"/>
                  <a:pt x="842342" y="150384"/>
                </a:cubicBezTo>
                <a:close/>
              </a:path>
            </a:pathLst>
          </a:custGeom>
          <a:solidFill>
            <a:srgbClr val="DAF8F2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任意多边形 95"/>
          <p:cNvSpPr/>
          <p:nvPr/>
        </p:nvSpPr>
        <p:spPr>
          <a:xfrm rot="6930194">
            <a:off x="9027708" y="5333493"/>
            <a:ext cx="1199897" cy="3165950"/>
          </a:xfrm>
          <a:custGeom>
            <a:avLst/>
            <a:gdLst>
              <a:gd name="connsiteX0" fmla="*/ 1007807 w 2015614"/>
              <a:gd name="connsiteY0" fmla="*/ 0 h 4367958"/>
              <a:gd name="connsiteX1" fmla="*/ 1173272 w 2015614"/>
              <a:gd name="connsiteY1" fmla="*/ 150385 h 4367958"/>
              <a:gd name="connsiteX2" fmla="*/ 2015614 w 2015614"/>
              <a:gd name="connsiteY2" fmla="*/ 2183979 h 4367958"/>
              <a:gd name="connsiteX3" fmla="*/ 1173272 w 2015614"/>
              <a:gd name="connsiteY3" fmla="*/ 4217573 h 4367958"/>
              <a:gd name="connsiteX4" fmla="*/ 1007808 w 2015614"/>
              <a:gd name="connsiteY4" fmla="*/ 4367958 h 4367958"/>
              <a:gd name="connsiteX5" fmla="*/ 842342 w 2015614"/>
              <a:gd name="connsiteY5" fmla="*/ 4217572 h 4367958"/>
              <a:gd name="connsiteX6" fmla="*/ 0 w 2015614"/>
              <a:gd name="connsiteY6" fmla="*/ 2183978 h 4367958"/>
              <a:gd name="connsiteX7" fmla="*/ 842342 w 2015614"/>
              <a:gd name="connsiteY7" fmla="*/ 150384 h 4367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15614" h="4367958">
                <a:moveTo>
                  <a:pt x="1007807" y="0"/>
                </a:moveTo>
                <a:lnTo>
                  <a:pt x="1173272" y="150385"/>
                </a:lnTo>
                <a:cubicBezTo>
                  <a:pt x="1693714" y="670827"/>
                  <a:pt x="2015614" y="1389811"/>
                  <a:pt x="2015614" y="2183979"/>
                </a:cubicBezTo>
                <a:cubicBezTo>
                  <a:pt x="2015614" y="2978147"/>
                  <a:pt x="1693714" y="3697131"/>
                  <a:pt x="1173272" y="4217573"/>
                </a:cubicBezTo>
                <a:lnTo>
                  <a:pt x="1007808" y="4367958"/>
                </a:lnTo>
                <a:lnTo>
                  <a:pt x="842342" y="4217572"/>
                </a:lnTo>
                <a:cubicBezTo>
                  <a:pt x="321900" y="3697130"/>
                  <a:pt x="0" y="2978146"/>
                  <a:pt x="0" y="2183978"/>
                </a:cubicBezTo>
                <a:cubicBezTo>
                  <a:pt x="0" y="1389810"/>
                  <a:pt x="321900" y="670826"/>
                  <a:pt x="842342" y="150384"/>
                </a:cubicBezTo>
                <a:close/>
              </a:path>
            </a:pathLst>
          </a:custGeom>
          <a:solidFill>
            <a:srgbClr val="D3FA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7" name="文本框 48"/>
          <p:cNvSpPr txBox="1"/>
          <p:nvPr/>
        </p:nvSpPr>
        <p:spPr>
          <a:xfrm>
            <a:off x="4983610" y="3844097"/>
            <a:ext cx="53142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 smtClean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工业现场总线</a:t>
            </a:r>
            <a:r>
              <a:rPr lang="en-US" altLang="zh-CN" sz="2800" b="1" dirty="0" smtClean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ProfiNet</a:t>
            </a:r>
            <a:r>
              <a:rPr lang="zh-CN" altLang="en-US" sz="2800" b="1" dirty="0" smtClean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协议实现</a:t>
            </a:r>
            <a:endParaRPr lang="zh-CN" altLang="en-US" sz="2800" b="1" dirty="0"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72884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9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863316" y="243648"/>
            <a:ext cx="50671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课题来源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任意多边形 2"/>
          <p:cNvSpPr/>
          <p:nvPr/>
        </p:nvSpPr>
        <p:spPr>
          <a:xfrm rot="18453518">
            <a:off x="450777" y="212975"/>
            <a:ext cx="229244" cy="575343"/>
          </a:xfrm>
          <a:custGeom>
            <a:avLst/>
            <a:gdLst>
              <a:gd name="connsiteX0" fmla="*/ 1007807 w 2015614"/>
              <a:gd name="connsiteY0" fmla="*/ 0 h 4367958"/>
              <a:gd name="connsiteX1" fmla="*/ 1173272 w 2015614"/>
              <a:gd name="connsiteY1" fmla="*/ 150385 h 4367958"/>
              <a:gd name="connsiteX2" fmla="*/ 2015614 w 2015614"/>
              <a:gd name="connsiteY2" fmla="*/ 2183979 h 4367958"/>
              <a:gd name="connsiteX3" fmla="*/ 1173272 w 2015614"/>
              <a:gd name="connsiteY3" fmla="*/ 4217573 h 4367958"/>
              <a:gd name="connsiteX4" fmla="*/ 1007808 w 2015614"/>
              <a:gd name="connsiteY4" fmla="*/ 4367958 h 4367958"/>
              <a:gd name="connsiteX5" fmla="*/ 842342 w 2015614"/>
              <a:gd name="connsiteY5" fmla="*/ 4217572 h 4367958"/>
              <a:gd name="connsiteX6" fmla="*/ 0 w 2015614"/>
              <a:gd name="connsiteY6" fmla="*/ 2183978 h 4367958"/>
              <a:gd name="connsiteX7" fmla="*/ 842342 w 2015614"/>
              <a:gd name="connsiteY7" fmla="*/ 150384 h 4367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15614" h="4367958">
                <a:moveTo>
                  <a:pt x="1007807" y="0"/>
                </a:moveTo>
                <a:lnTo>
                  <a:pt x="1173272" y="150385"/>
                </a:lnTo>
                <a:cubicBezTo>
                  <a:pt x="1693714" y="670827"/>
                  <a:pt x="2015614" y="1389811"/>
                  <a:pt x="2015614" y="2183979"/>
                </a:cubicBezTo>
                <a:cubicBezTo>
                  <a:pt x="2015614" y="2978147"/>
                  <a:pt x="1693714" y="3697131"/>
                  <a:pt x="1173272" y="4217573"/>
                </a:cubicBezTo>
                <a:lnTo>
                  <a:pt x="1007808" y="4367958"/>
                </a:lnTo>
                <a:lnTo>
                  <a:pt x="842342" y="4217572"/>
                </a:lnTo>
                <a:cubicBezTo>
                  <a:pt x="321900" y="3697130"/>
                  <a:pt x="0" y="2978146"/>
                  <a:pt x="0" y="2183978"/>
                </a:cubicBezTo>
                <a:cubicBezTo>
                  <a:pt x="0" y="1389810"/>
                  <a:pt x="321900" y="670826"/>
                  <a:pt x="842342" y="150384"/>
                </a:cubicBezTo>
                <a:close/>
              </a:path>
            </a:pathLst>
          </a:custGeom>
          <a:gradFill>
            <a:gsLst>
              <a:gs pos="31000">
                <a:srgbClr val="09D1AB">
                  <a:alpha val="15000"/>
                </a:srgbClr>
              </a:gs>
              <a:gs pos="100000">
                <a:srgbClr val="6E7DC3">
                  <a:alpha val="5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0" name="组合 19"/>
          <p:cNvGrpSpPr/>
          <p:nvPr/>
        </p:nvGrpSpPr>
        <p:grpSpPr>
          <a:xfrm>
            <a:off x="1301385" y="1219200"/>
            <a:ext cx="2800351" cy="4552950"/>
            <a:chOff x="1301385" y="1219200"/>
            <a:chExt cx="2800351" cy="4552950"/>
          </a:xfrm>
          <a:effectLst>
            <a:outerShdw blurRad="76200" dist="38100" dir="2700000" sx="99000" sy="99000" algn="tl" rotWithShape="0">
              <a:prstClr val="black">
                <a:alpha val="60000"/>
              </a:prstClr>
            </a:outerShdw>
          </a:effectLst>
        </p:grpSpPr>
        <p:sp>
          <p:nvSpPr>
            <p:cNvPr id="7" name="矩形 6"/>
            <p:cNvSpPr/>
            <p:nvPr/>
          </p:nvSpPr>
          <p:spPr>
            <a:xfrm>
              <a:off x="1301385" y="2200275"/>
              <a:ext cx="2800351" cy="3571875"/>
            </a:xfrm>
            <a:prstGeom prst="rect">
              <a:avLst/>
            </a:prstGeom>
            <a:gradFill flip="none" rotWithShape="1">
              <a:gsLst>
                <a:gs pos="0">
                  <a:srgbClr val="D7F5EF"/>
                </a:gs>
                <a:gs pos="100000">
                  <a:srgbClr val="97E5D6"/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96D4CA"/>
                </a:solidFill>
              </a:endParaRPr>
            </a:p>
          </p:txBody>
        </p:sp>
        <p:sp>
          <p:nvSpPr>
            <p:cNvPr id="4" name="椭圆 3"/>
            <p:cNvSpPr/>
            <p:nvPr/>
          </p:nvSpPr>
          <p:spPr>
            <a:xfrm>
              <a:off x="1720486" y="1219200"/>
              <a:ext cx="1962150" cy="1962150"/>
            </a:xfrm>
            <a:prstGeom prst="ellipse">
              <a:avLst/>
            </a:prstGeom>
            <a:blipFill dpi="0" rotWithShape="1">
              <a:blip r:embed="rId2"/>
              <a:srcRect/>
              <a:stretch>
                <a:fillRect/>
              </a:stretch>
            </a:blipFill>
            <a:ln w="50800">
              <a:solidFill>
                <a:srgbClr val="D7F5E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96D4CA"/>
                </a:solidFill>
              </a:endParaRPr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4695824" y="1219200"/>
            <a:ext cx="2800351" cy="4552950"/>
            <a:chOff x="4695824" y="1219200"/>
            <a:chExt cx="2800351" cy="4552950"/>
          </a:xfrm>
          <a:effectLst>
            <a:outerShdw blurRad="76200" dist="38100" dir="2700000" sx="99000" sy="99000" algn="tl" rotWithShape="0">
              <a:prstClr val="black">
                <a:alpha val="60000"/>
              </a:prstClr>
            </a:outerShdw>
          </a:effectLst>
        </p:grpSpPr>
        <p:sp>
          <p:nvSpPr>
            <p:cNvPr id="8" name="矩形 7"/>
            <p:cNvSpPr/>
            <p:nvPr/>
          </p:nvSpPr>
          <p:spPr>
            <a:xfrm>
              <a:off x="4695824" y="2200275"/>
              <a:ext cx="2800351" cy="3571875"/>
            </a:xfrm>
            <a:prstGeom prst="rect">
              <a:avLst/>
            </a:prstGeom>
            <a:gradFill flip="none" rotWithShape="1">
              <a:gsLst>
                <a:gs pos="0">
                  <a:srgbClr val="ACEADE"/>
                </a:gs>
                <a:gs pos="100000">
                  <a:srgbClr val="B9DAE3"/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" name="椭圆 4"/>
            <p:cNvSpPr/>
            <p:nvPr/>
          </p:nvSpPr>
          <p:spPr>
            <a:xfrm>
              <a:off x="5114925" y="1219200"/>
              <a:ext cx="1962150" cy="1962150"/>
            </a:xfrm>
            <a:prstGeom prst="ellipse">
              <a:avLst/>
            </a:prstGeom>
            <a:blipFill dpi="0" rotWithShape="1">
              <a:blip r:embed="rId3"/>
              <a:srcRect/>
              <a:stretch>
                <a:fillRect l="2000" t="2000" r="2000" b="1000"/>
              </a:stretch>
            </a:blipFill>
            <a:ln w="50800">
              <a:solidFill>
                <a:srgbClr val="C4E9E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2" name="组合 21"/>
          <p:cNvGrpSpPr/>
          <p:nvPr/>
        </p:nvGrpSpPr>
        <p:grpSpPr>
          <a:xfrm>
            <a:off x="8090263" y="1219204"/>
            <a:ext cx="2800351" cy="4552946"/>
            <a:chOff x="8090263" y="1219204"/>
            <a:chExt cx="2800351" cy="4552946"/>
          </a:xfrm>
          <a:effectLst>
            <a:outerShdw blurRad="76200" dist="38100" dir="2700000" sx="99000" sy="99000" algn="tl" rotWithShape="0">
              <a:prstClr val="black">
                <a:alpha val="60000"/>
              </a:prstClr>
            </a:outerShdw>
          </a:effectLst>
        </p:grpSpPr>
        <p:sp>
          <p:nvSpPr>
            <p:cNvPr id="9" name="矩形 8"/>
            <p:cNvSpPr/>
            <p:nvPr/>
          </p:nvSpPr>
          <p:spPr>
            <a:xfrm>
              <a:off x="8090263" y="2200275"/>
              <a:ext cx="2800351" cy="3571875"/>
            </a:xfrm>
            <a:prstGeom prst="rect">
              <a:avLst/>
            </a:prstGeom>
            <a:gradFill flip="none" rotWithShape="1">
              <a:gsLst>
                <a:gs pos="0">
                  <a:srgbClr val="97D5CB"/>
                </a:gs>
                <a:gs pos="100000">
                  <a:srgbClr val="53B9A8"/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" name="椭圆 5"/>
            <p:cNvSpPr/>
            <p:nvPr/>
          </p:nvSpPr>
          <p:spPr>
            <a:xfrm>
              <a:off x="8509364" y="1219204"/>
              <a:ext cx="1962150" cy="1962150"/>
            </a:xfrm>
            <a:prstGeom prst="ellipse">
              <a:avLst/>
            </a:prstGeom>
            <a:blipFill dpi="0" rotWithShape="1">
              <a:blip r:embed="rId4"/>
              <a:srcRect/>
              <a:stretch>
                <a:fillRect/>
              </a:stretch>
            </a:blipFill>
            <a:ln w="50800">
              <a:solidFill>
                <a:srgbClr val="96D5C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" name="文本框 9"/>
          <p:cNvSpPr txBox="1"/>
          <p:nvPr/>
        </p:nvSpPr>
        <p:spPr>
          <a:xfrm>
            <a:off x="1730865" y="3269605"/>
            <a:ext cx="20305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TM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处理器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1577610" y="3731270"/>
            <a:ext cx="22479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>
                <a:solidFill>
                  <a:schemeClr val="tx1">
                    <a:lumMod val="75000"/>
                    <a:lumOff val="2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STM32</a:t>
            </a:r>
            <a:r>
              <a:rPr lang="zh-CN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系列基于专为要求高性能、低成本、低功耗的嵌入式应用专门设计的</a:t>
            </a:r>
            <a:r>
              <a:rPr lang="en-US" altLang="zh-CN" b="1" dirty="0">
                <a:solidFill>
                  <a:schemeClr val="tx1">
                    <a:lumMod val="75000"/>
                    <a:lumOff val="2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ARM Cortex-0</a:t>
            </a:r>
            <a:r>
              <a:rPr lang="zh-CN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内核。</a:t>
            </a:r>
            <a:endParaRPr lang="zh-CN" altLang="en-US" b="1" dirty="0">
              <a:solidFill>
                <a:schemeClr val="tx1">
                  <a:lumMod val="75000"/>
                  <a:lumOff val="25000"/>
                </a:schemeClr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5036618" y="3269605"/>
            <a:ext cx="22479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rofinet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协议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4897620" y="3731270"/>
            <a:ext cx="22479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Profinet</a:t>
            </a:r>
            <a:r>
              <a:rPr lang="zh-CN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是基于</a:t>
            </a:r>
            <a:r>
              <a:rPr lang="zh-CN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工业以太网技术的自动化总线</a:t>
            </a:r>
            <a:r>
              <a:rPr lang="zh-CN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标准，通过特有协议通讯、管理现场设备，现需要专用芯片支持。</a:t>
            </a:r>
            <a:endParaRPr lang="zh-CN" altLang="en-US" b="1" dirty="0">
              <a:solidFill>
                <a:schemeClr val="tx1">
                  <a:lumMod val="75000"/>
                  <a:lumOff val="25000"/>
                </a:schemeClr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8288557" y="3269605"/>
            <a:ext cx="24846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eCos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嵌入式系统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8364719" y="3731270"/>
            <a:ext cx="22479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eCos</a:t>
            </a:r>
            <a:r>
              <a:rPr lang="zh-CN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是一个开源的、可配置的嵌入式操作系统，提供嵌入式开发工具，支持诸如网络协议等第三方扩展组件。</a:t>
            </a:r>
            <a:endParaRPr lang="zh-CN" altLang="en-US" b="1" dirty="0">
              <a:solidFill>
                <a:schemeClr val="tx1">
                  <a:lumMod val="75000"/>
                  <a:lumOff val="25000"/>
                </a:schemeClr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29" name="任意多边形 28"/>
          <p:cNvSpPr/>
          <p:nvPr/>
        </p:nvSpPr>
        <p:spPr>
          <a:xfrm rot="1214231">
            <a:off x="-658849" y="5401346"/>
            <a:ext cx="982983" cy="1705242"/>
          </a:xfrm>
          <a:custGeom>
            <a:avLst/>
            <a:gdLst>
              <a:gd name="connsiteX0" fmla="*/ 1007807 w 2015614"/>
              <a:gd name="connsiteY0" fmla="*/ 0 h 4367958"/>
              <a:gd name="connsiteX1" fmla="*/ 1173272 w 2015614"/>
              <a:gd name="connsiteY1" fmla="*/ 150385 h 4367958"/>
              <a:gd name="connsiteX2" fmla="*/ 2015614 w 2015614"/>
              <a:gd name="connsiteY2" fmla="*/ 2183979 h 4367958"/>
              <a:gd name="connsiteX3" fmla="*/ 1173272 w 2015614"/>
              <a:gd name="connsiteY3" fmla="*/ 4217573 h 4367958"/>
              <a:gd name="connsiteX4" fmla="*/ 1007808 w 2015614"/>
              <a:gd name="connsiteY4" fmla="*/ 4367958 h 4367958"/>
              <a:gd name="connsiteX5" fmla="*/ 842342 w 2015614"/>
              <a:gd name="connsiteY5" fmla="*/ 4217572 h 4367958"/>
              <a:gd name="connsiteX6" fmla="*/ 0 w 2015614"/>
              <a:gd name="connsiteY6" fmla="*/ 2183978 h 4367958"/>
              <a:gd name="connsiteX7" fmla="*/ 842342 w 2015614"/>
              <a:gd name="connsiteY7" fmla="*/ 150384 h 4367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15614" h="4367958">
                <a:moveTo>
                  <a:pt x="1007807" y="0"/>
                </a:moveTo>
                <a:lnTo>
                  <a:pt x="1173272" y="150385"/>
                </a:lnTo>
                <a:cubicBezTo>
                  <a:pt x="1693714" y="670827"/>
                  <a:pt x="2015614" y="1389811"/>
                  <a:pt x="2015614" y="2183979"/>
                </a:cubicBezTo>
                <a:cubicBezTo>
                  <a:pt x="2015614" y="2978147"/>
                  <a:pt x="1693714" y="3697131"/>
                  <a:pt x="1173272" y="4217573"/>
                </a:cubicBezTo>
                <a:lnTo>
                  <a:pt x="1007808" y="4367958"/>
                </a:lnTo>
                <a:lnTo>
                  <a:pt x="842342" y="4217572"/>
                </a:lnTo>
                <a:cubicBezTo>
                  <a:pt x="321900" y="3697130"/>
                  <a:pt x="0" y="2978146"/>
                  <a:pt x="0" y="2183978"/>
                </a:cubicBezTo>
                <a:cubicBezTo>
                  <a:pt x="0" y="1389810"/>
                  <a:pt x="321900" y="670826"/>
                  <a:pt x="842342" y="150384"/>
                </a:cubicBezTo>
                <a:close/>
              </a:path>
            </a:pathLst>
          </a:custGeom>
          <a:gradFill>
            <a:gsLst>
              <a:gs pos="31000">
                <a:srgbClr val="09D1AB">
                  <a:alpha val="15000"/>
                </a:srgbClr>
              </a:gs>
              <a:gs pos="100000">
                <a:srgbClr val="6E7DC3">
                  <a:alpha val="5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任意多边形 29"/>
          <p:cNvSpPr/>
          <p:nvPr/>
        </p:nvSpPr>
        <p:spPr>
          <a:xfrm rot="11808716">
            <a:off x="11587633" y="-432636"/>
            <a:ext cx="982983" cy="1705242"/>
          </a:xfrm>
          <a:custGeom>
            <a:avLst/>
            <a:gdLst>
              <a:gd name="connsiteX0" fmla="*/ 1007807 w 2015614"/>
              <a:gd name="connsiteY0" fmla="*/ 0 h 4367958"/>
              <a:gd name="connsiteX1" fmla="*/ 1173272 w 2015614"/>
              <a:gd name="connsiteY1" fmla="*/ 150385 h 4367958"/>
              <a:gd name="connsiteX2" fmla="*/ 2015614 w 2015614"/>
              <a:gd name="connsiteY2" fmla="*/ 2183979 h 4367958"/>
              <a:gd name="connsiteX3" fmla="*/ 1173272 w 2015614"/>
              <a:gd name="connsiteY3" fmla="*/ 4217573 h 4367958"/>
              <a:gd name="connsiteX4" fmla="*/ 1007808 w 2015614"/>
              <a:gd name="connsiteY4" fmla="*/ 4367958 h 4367958"/>
              <a:gd name="connsiteX5" fmla="*/ 842342 w 2015614"/>
              <a:gd name="connsiteY5" fmla="*/ 4217572 h 4367958"/>
              <a:gd name="connsiteX6" fmla="*/ 0 w 2015614"/>
              <a:gd name="connsiteY6" fmla="*/ 2183978 h 4367958"/>
              <a:gd name="connsiteX7" fmla="*/ 842342 w 2015614"/>
              <a:gd name="connsiteY7" fmla="*/ 150384 h 4367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15614" h="4367958">
                <a:moveTo>
                  <a:pt x="1007807" y="0"/>
                </a:moveTo>
                <a:lnTo>
                  <a:pt x="1173272" y="150385"/>
                </a:lnTo>
                <a:cubicBezTo>
                  <a:pt x="1693714" y="670827"/>
                  <a:pt x="2015614" y="1389811"/>
                  <a:pt x="2015614" y="2183979"/>
                </a:cubicBezTo>
                <a:cubicBezTo>
                  <a:pt x="2015614" y="2978147"/>
                  <a:pt x="1693714" y="3697131"/>
                  <a:pt x="1173272" y="4217573"/>
                </a:cubicBezTo>
                <a:lnTo>
                  <a:pt x="1007808" y="4367958"/>
                </a:lnTo>
                <a:lnTo>
                  <a:pt x="842342" y="4217572"/>
                </a:lnTo>
                <a:cubicBezTo>
                  <a:pt x="321900" y="3697130"/>
                  <a:pt x="0" y="2978146"/>
                  <a:pt x="0" y="2183978"/>
                </a:cubicBezTo>
                <a:cubicBezTo>
                  <a:pt x="0" y="1389810"/>
                  <a:pt x="321900" y="670826"/>
                  <a:pt x="842342" y="150384"/>
                </a:cubicBezTo>
                <a:close/>
              </a:path>
            </a:pathLst>
          </a:custGeom>
          <a:gradFill>
            <a:gsLst>
              <a:gs pos="31000">
                <a:srgbClr val="09D1AB">
                  <a:alpha val="15000"/>
                </a:srgbClr>
              </a:gs>
              <a:gs pos="100000">
                <a:srgbClr val="6E7DC3">
                  <a:alpha val="5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任意多边形 30"/>
          <p:cNvSpPr/>
          <p:nvPr/>
        </p:nvSpPr>
        <p:spPr>
          <a:xfrm rot="14421581">
            <a:off x="11395736" y="-988871"/>
            <a:ext cx="982983" cy="1705242"/>
          </a:xfrm>
          <a:custGeom>
            <a:avLst/>
            <a:gdLst>
              <a:gd name="connsiteX0" fmla="*/ 1007807 w 2015614"/>
              <a:gd name="connsiteY0" fmla="*/ 0 h 4367958"/>
              <a:gd name="connsiteX1" fmla="*/ 1173272 w 2015614"/>
              <a:gd name="connsiteY1" fmla="*/ 150385 h 4367958"/>
              <a:gd name="connsiteX2" fmla="*/ 2015614 w 2015614"/>
              <a:gd name="connsiteY2" fmla="*/ 2183979 h 4367958"/>
              <a:gd name="connsiteX3" fmla="*/ 1173272 w 2015614"/>
              <a:gd name="connsiteY3" fmla="*/ 4217573 h 4367958"/>
              <a:gd name="connsiteX4" fmla="*/ 1007808 w 2015614"/>
              <a:gd name="connsiteY4" fmla="*/ 4367958 h 4367958"/>
              <a:gd name="connsiteX5" fmla="*/ 842342 w 2015614"/>
              <a:gd name="connsiteY5" fmla="*/ 4217572 h 4367958"/>
              <a:gd name="connsiteX6" fmla="*/ 0 w 2015614"/>
              <a:gd name="connsiteY6" fmla="*/ 2183978 h 4367958"/>
              <a:gd name="connsiteX7" fmla="*/ 842342 w 2015614"/>
              <a:gd name="connsiteY7" fmla="*/ 150384 h 4367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15614" h="4367958">
                <a:moveTo>
                  <a:pt x="1007807" y="0"/>
                </a:moveTo>
                <a:lnTo>
                  <a:pt x="1173272" y="150385"/>
                </a:lnTo>
                <a:cubicBezTo>
                  <a:pt x="1693714" y="670827"/>
                  <a:pt x="2015614" y="1389811"/>
                  <a:pt x="2015614" y="2183979"/>
                </a:cubicBezTo>
                <a:cubicBezTo>
                  <a:pt x="2015614" y="2978147"/>
                  <a:pt x="1693714" y="3697131"/>
                  <a:pt x="1173272" y="4217573"/>
                </a:cubicBezTo>
                <a:lnTo>
                  <a:pt x="1007808" y="4367958"/>
                </a:lnTo>
                <a:lnTo>
                  <a:pt x="842342" y="4217572"/>
                </a:lnTo>
                <a:cubicBezTo>
                  <a:pt x="321900" y="3697130"/>
                  <a:pt x="0" y="2978146"/>
                  <a:pt x="0" y="2183978"/>
                </a:cubicBezTo>
                <a:cubicBezTo>
                  <a:pt x="0" y="1389810"/>
                  <a:pt x="321900" y="670826"/>
                  <a:pt x="842342" y="150384"/>
                </a:cubicBezTo>
                <a:close/>
              </a:path>
            </a:pathLst>
          </a:custGeom>
          <a:gradFill>
            <a:gsLst>
              <a:gs pos="31000">
                <a:srgbClr val="09D1AB">
                  <a:alpha val="15000"/>
                </a:srgbClr>
              </a:gs>
              <a:gs pos="100000">
                <a:srgbClr val="6E7DC3">
                  <a:alpha val="5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任意多边形 31"/>
          <p:cNvSpPr/>
          <p:nvPr/>
        </p:nvSpPr>
        <p:spPr>
          <a:xfrm rot="2530520">
            <a:off x="3173719" y="5528756"/>
            <a:ext cx="1449566" cy="2514652"/>
          </a:xfrm>
          <a:custGeom>
            <a:avLst/>
            <a:gdLst>
              <a:gd name="connsiteX0" fmla="*/ 1007807 w 2015614"/>
              <a:gd name="connsiteY0" fmla="*/ 0 h 4367958"/>
              <a:gd name="connsiteX1" fmla="*/ 1173272 w 2015614"/>
              <a:gd name="connsiteY1" fmla="*/ 150385 h 4367958"/>
              <a:gd name="connsiteX2" fmla="*/ 2015614 w 2015614"/>
              <a:gd name="connsiteY2" fmla="*/ 2183979 h 4367958"/>
              <a:gd name="connsiteX3" fmla="*/ 1173272 w 2015614"/>
              <a:gd name="connsiteY3" fmla="*/ 4217573 h 4367958"/>
              <a:gd name="connsiteX4" fmla="*/ 1007808 w 2015614"/>
              <a:gd name="connsiteY4" fmla="*/ 4367958 h 4367958"/>
              <a:gd name="connsiteX5" fmla="*/ 842342 w 2015614"/>
              <a:gd name="connsiteY5" fmla="*/ 4217572 h 4367958"/>
              <a:gd name="connsiteX6" fmla="*/ 0 w 2015614"/>
              <a:gd name="connsiteY6" fmla="*/ 2183978 h 4367958"/>
              <a:gd name="connsiteX7" fmla="*/ 842342 w 2015614"/>
              <a:gd name="connsiteY7" fmla="*/ 150384 h 4367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15614" h="4367958">
                <a:moveTo>
                  <a:pt x="1007807" y="0"/>
                </a:moveTo>
                <a:lnTo>
                  <a:pt x="1173272" y="150385"/>
                </a:lnTo>
                <a:cubicBezTo>
                  <a:pt x="1693714" y="670827"/>
                  <a:pt x="2015614" y="1389811"/>
                  <a:pt x="2015614" y="2183979"/>
                </a:cubicBezTo>
                <a:cubicBezTo>
                  <a:pt x="2015614" y="2978147"/>
                  <a:pt x="1693714" y="3697131"/>
                  <a:pt x="1173272" y="4217573"/>
                </a:cubicBezTo>
                <a:lnTo>
                  <a:pt x="1007808" y="4367958"/>
                </a:lnTo>
                <a:lnTo>
                  <a:pt x="842342" y="4217572"/>
                </a:lnTo>
                <a:cubicBezTo>
                  <a:pt x="321900" y="3697130"/>
                  <a:pt x="0" y="2978146"/>
                  <a:pt x="0" y="2183978"/>
                </a:cubicBezTo>
                <a:cubicBezTo>
                  <a:pt x="0" y="1389810"/>
                  <a:pt x="321900" y="670826"/>
                  <a:pt x="842342" y="150384"/>
                </a:cubicBezTo>
                <a:close/>
              </a:path>
            </a:pathLst>
          </a:custGeom>
          <a:gradFill>
            <a:gsLst>
              <a:gs pos="31000">
                <a:srgbClr val="09D1AB">
                  <a:alpha val="15000"/>
                </a:srgbClr>
              </a:gs>
              <a:gs pos="100000">
                <a:srgbClr val="6E7DC3">
                  <a:alpha val="5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任意多边形 32"/>
          <p:cNvSpPr/>
          <p:nvPr/>
        </p:nvSpPr>
        <p:spPr>
          <a:xfrm rot="19435142">
            <a:off x="10095753" y="4186700"/>
            <a:ext cx="2063968" cy="3580494"/>
          </a:xfrm>
          <a:custGeom>
            <a:avLst/>
            <a:gdLst>
              <a:gd name="connsiteX0" fmla="*/ 1007807 w 2015614"/>
              <a:gd name="connsiteY0" fmla="*/ 0 h 4367958"/>
              <a:gd name="connsiteX1" fmla="*/ 1173272 w 2015614"/>
              <a:gd name="connsiteY1" fmla="*/ 150385 h 4367958"/>
              <a:gd name="connsiteX2" fmla="*/ 2015614 w 2015614"/>
              <a:gd name="connsiteY2" fmla="*/ 2183979 h 4367958"/>
              <a:gd name="connsiteX3" fmla="*/ 1173272 w 2015614"/>
              <a:gd name="connsiteY3" fmla="*/ 4217573 h 4367958"/>
              <a:gd name="connsiteX4" fmla="*/ 1007808 w 2015614"/>
              <a:gd name="connsiteY4" fmla="*/ 4367958 h 4367958"/>
              <a:gd name="connsiteX5" fmla="*/ 842342 w 2015614"/>
              <a:gd name="connsiteY5" fmla="*/ 4217572 h 4367958"/>
              <a:gd name="connsiteX6" fmla="*/ 0 w 2015614"/>
              <a:gd name="connsiteY6" fmla="*/ 2183978 h 4367958"/>
              <a:gd name="connsiteX7" fmla="*/ 842342 w 2015614"/>
              <a:gd name="connsiteY7" fmla="*/ 150384 h 4367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15614" h="4367958">
                <a:moveTo>
                  <a:pt x="1007807" y="0"/>
                </a:moveTo>
                <a:lnTo>
                  <a:pt x="1173272" y="150385"/>
                </a:lnTo>
                <a:cubicBezTo>
                  <a:pt x="1693714" y="670827"/>
                  <a:pt x="2015614" y="1389811"/>
                  <a:pt x="2015614" y="2183979"/>
                </a:cubicBezTo>
                <a:cubicBezTo>
                  <a:pt x="2015614" y="2978147"/>
                  <a:pt x="1693714" y="3697131"/>
                  <a:pt x="1173272" y="4217573"/>
                </a:cubicBezTo>
                <a:lnTo>
                  <a:pt x="1007808" y="4367958"/>
                </a:lnTo>
                <a:lnTo>
                  <a:pt x="842342" y="4217572"/>
                </a:lnTo>
                <a:cubicBezTo>
                  <a:pt x="321900" y="3697130"/>
                  <a:pt x="0" y="2978146"/>
                  <a:pt x="0" y="2183978"/>
                </a:cubicBezTo>
                <a:cubicBezTo>
                  <a:pt x="0" y="1389810"/>
                  <a:pt x="321900" y="670826"/>
                  <a:pt x="842342" y="150384"/>
                </a:cubicBezTo>
                <a:close/>
              </a:path>
            </a:pathLst>
          </a:custGeom>
          <a:solidFill>
            <a:schemeClr val="bg1">
              <a:lumMod val="85000"/>
              <a:alpha val="2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613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/>
            </a:gs>
            <a:gs pos="100000">
              <a:schemeClr val="bg1">
                <a:lumMod val="9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任意多边形 27"/>
          <p:cNvSpPr/>
          <p:nvPr/>
        </p:nvSpPr>
        <p:spPr>
          <a:xfrm rot="17113550">
            <a:off x="10098334" y="5021901"/>
            <a:ext cx="1463179" cy="3672200"/>
          </a:xfrm>
          <a:custGeom>
            <a:avLst/>
            <a:gdLst>
              <a:gd name="connsiteX0" fmla="*/ 1007807 w 2015614"/>
              <a:gd name="connsiteY0" fmla="*/ 0 h 4367958"/>
              <a:gd name="connsiteX1" fmla="*/ 1173272 w 2015614"/>
              <a:gd name="connsiteY1" fmla="*/ 150385 h 4367958"/>
              <a:gd name="connsiteX2" fmla="*/ 2015614 w 2015614"/>
              <a:gd name="connsiteY2" fmla="*/ 2183979 h 4367958"/>
              <a:gd name="connsiteX3" fmla="*/ 1173272 w 2015614"/>
              <a:gd name="connsiteY3" fmla="*/ 4217573 h 4367958"/>
              <a:gd name="connsiteX4" fmla="*/ 1007808 w 2015614"/>
              <a:gd name="connsiteY4" fmla="*/ 4367958 h 4367958"/>
              <a:gd name="connsiteX5" fmla="*/ 842342 w 2015614"/>
              <a:gd name="connsiteY5" fmla="*/ 4217572 h 4367958"/>
              <a:gd name="connsiteX6" fmla="*/ 0 w 2015614"/>
              <a:gd name="connsiteY6" fmla="*/ 2183978 h 4367958"/>
              <a:gd name="connsiteX7" fmla="*/ 842342 w 2015614"/>
              <a:gd name="connsiteY7" fmla="*/ 150384 h 4367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15614" h="4367958">
                <a:moveTo>
                  <a:pt x="1007807" y="0"/>
                </a:moveTo>
                <a:lnTo>
                  <a:pt x="1173272" y="150385"/>
                </a:lnTo>
                <a:cubicBezTo>
                  <a:pt x="1693714" y="670827"/>
                  <a:pt x="2015614" y="1389811"/>
                  <a:pt x="2015614" y="2183979"/>
                </a:cubicBezTo>
                <a:cubicBezTo>
                  <a:pt x="2015614" y="2978147"/>
                  <a:pt x="1693714" y="3697131"/>
                  <a:pt x="1173272" y="4217573"/>
                </a:cubicBezTo>
                <a:lnTo>
                  <a:pt x="1007808" y="4367958"/>
                </a:lnTo>
                <a:lnTo>
                  <a:pt x="842342" y="4217572"/>
                </a:lnTo>
                <a:cubicBezTo>
                  <a:pt x="321900" y="3697130"/>
                  <a:pt x="0" y="2978146"/>
                  <a:pt x="0" y="2183978"/>
                </a:cubicBezTo>
                <a:cubicBezTo>
                  <a:pt x="0" y="1389810"/>
                  <a:pt x="321900" y="670826"/>
                  <a:pt x="842342" y="150384"/>
                </a:cubicBezTo>
                <a:close/>
              </a:path>
            </a:pathLst>
          </a:custGeom>
          <a:gradFill>
            <a:gsLst>
              <a:gs pos="31000">
                <a:srgbClr val="09D1AB">
                  <a:alpha val="15000"/>
                </a:srgbClr>
              </a:gs>
              <a:gs pos="100000">
                <a:srgbClr val="6E7DC3">
                  <a:alpha val="5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任意多边形 28"/>
          <p:cNvSpPr/>
          <p:nvPr/>
        </p:nvSpPr>
        <p:spPr>
          <a:xfrm rot="20513596">
            <a:off x="11408037" y="4997883"/>
            <a:ext cx="1149093" cy="2883926"/>
          </a:xfrm>
          <a:custGeom>
            <a:avLst/>
            <a:gdLst>
              <a:gd name="connsiteX0" fmla="*/ 1007807 w 2015614"/>
              <a:gd name="connsiteY0" fmla="*/ 0 h 4367958"/>
              <a:gd name="connsiteX1" fmla="*/ 1173272 w 2015614"/>
              <a:gd name="connsiteY1" fmla="*/ 150385 h 4367958"/>
              <a:gd name="connsiteX2" fmla="*/ 2015614 w 2015614"/>
              <a:gd name="connsiteY2" fmla="*/ 2183979 h 4367958"/>
              <a:gd name="connsiteX3" fmla="*/ 1173272 w 2015614"/>
              <a:gd name="connsiteY3" fmla="*/ 4217573 h 4367958"/>
              <a:gd name="connsiteX4" fmla="*/ 1007808 w 2015614"/>
              <a:gd name="connsiteY4" fmla="*/ 4367958 h 4367958"/>
              <a:gd name="connsiteX5" fmla="*/ 842342 w 2015614"/>
              <a:gd name="connsiteY5" fmla="*/ 4217572 h 4367958"/>
              <a:gd name="connsiteX6" fmla="*/ 0 w 2015614"/>
              <a:gd name="connsiteY6" fmla="*/ 2183978 h 4367958"/>
              <a:gd name="connsiteX7" fmla="*/ 842342 w 2015614"/>
              <a:gd name="connsiteY7" fmla="*/ 150384 h 4367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15614" h="4367958">
                <a:moveTo>
                  <a:pt x="1007807" y="0"/>
                </a:moveTo>
                <a:lnTo>
                  <a:pt x="1173272" y="150385"/>
                </a:lnTo>
                <a:cubicBezTo>
                  <a:pt x="1693714" y="670827"/>
                  <a:pt x="2015614" y="1389811"/>
                  <a:pt x="2015614" y="2183979"/>
                </a:cubicBezTo>
                <a:cubicBezTo>
                  <a:pt x="2015614" y="2978147"/>
                  <a:pt x="1693714" y="3697131"/>
                  <a:pt x="1173272" y="4217573"/>
                </a:cubicBezTo>
                <a:lnTo>
                  <a:pt x="1007808" y="4367958"/>
                </a:lnTo>
                <a:lnTo>
                  <a:pt x="842342" y="4217572"/>
                </a:lnTo>
                <a:cubicBezTo>
                  <a:pt x="321900" y="3697130"/>
                  <a:pt x="0" y="2978146"/>
                  <a:pt x="0" y="2183978"/>
                </a:cubicBezTo>
                <a:cubicBezTo>
                  <a:pt x="0" y="1389810"/>
                  <a:pt x="321900" y="670826"/>
                  <a:pt x="842342" y="150384"/>
                </a:cubicBezTo>
                <a:close/>
              </a:path>
            </a:pathLst>
          </a:custGeom>
          <a:gradFill>
            <a:gsLst>
              <a:gs pos="31000">
                <a:srgbClr val="09D1AB">
                  <a:alpha val="15000"/>
                </a:srgbClr>
              </a:gs>
              <a:gs pos="100000">
                <a:srgbClr val="6E7DC3">
                  <a:alpha val="5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任意多边形 29"/>
          <p:cNvSpPr/>
          <p:nvPr/>
        </p:nvSpPr>
        <p:spPr>
          <a:xfrm rot="13300765">
            <a:off x="7997361" y="-855735"/>
            <a:ext cx="1112015" cy="1564091"/>
          </a:xfrm>
          <a:custGeom>
            <a:avLst/>
            <a:gdLst>
              <a:gd name="connsiteX0" fmla="*/ 1007807 w 2015614"/>
              <a:gd name="connsiteY0" fmla="*/ 0 h 4367958"/>
              <a:gd name="connsiteX1" fmla="*/ 1173272 w 2015614"/>
              <a:gd name="connsiteY1" fmla="*/ 150385 h 4367958"/>
              <a:gd name="connsiteX2" fmla="*/ 2015614 w 2015614"/>
              <a:gd name="connsiteY2" fmla="*/ 2183979 h 4367958"/>
              <a:gd name="connsiteX3" fmla="*/ 1173272 w 2015614"/>
              <a:gd name="connsiteY3" fmla="*/ 4217573 h 4367958"/>
              <a:gd name="connsiteX4" fmla="*/ 1007808 w 2015614"/>
              <a:gd name="connsiteY4" fmla="*/ 4367958 h 4367958"/>
              <a:gd name="connsiteX5" fmla="*/ 842342 w 2015614"/>
              <a:gd name="connsiteY5" fmla="*/ 4217572 h 4367958"/>
              <a:gd name="connsiteX6" fmla="*/ 0 w 2015614"/>
              <a:gd name="connsiteY6" fmla="*/ 2183978 h 4367958"/>
              <a:gd name="connsiteX7" fmla="*/ 842342 w 2015614"/>
              <a:gd name="connsiteY7" fmla="*/ 150384 h 4367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15614" h="4367958">
                <a:moveTo>
                  <a:pt x="1007807" y="0"/>
                </a:moveTo>
                <a:lnTo>
                  <a:pt x="1173272" y="150385"/>
                </a:lnTo>
                <a:cubicBezTo>
                  <a:pt x="1693714" y="670827"/>
                  <a:pt x="2015614" y="1389811"/>
                  <a:pt x="2015614" y="2183979"/>
                </a:cubicBezTo>
                <a:cubicBezTo>
                  <a:pt x="2015614" y="2978147"/>
                  <a:pt x="1693714" y="3697131"/>
                  <a:pt x="1173272" y="4217573"/>
                </a:cubicBezTo>
                <a:lnTo>
                  <a:pt x="1007808" y="4367958"/>
                </a:lnTo>
                <a:lnTo>
                  <a:pt x="842342" y="4217572"/>
                </a:lnTo>
                <a:cubicBezTo>
                  <a:pt x="321900" y="3697130"/>
                  <a:pt x="0" y="2978146"/>
                  <a:pt x="0" y="2183978"/>
                </a:cubicBezTo>
                <a:cubicBezTo>
                  <a:pt x="0" y="1389810"/>
                  <a:pt x="321900" y="670826"/>
                  <a:pt x="842342" y="150384"/>
                </a:cubicBezTo>
                <a:close/>
              </a:path>
            </a:pathLst>
          </a:custGeom>
          <a:gradFill>
            <a:gsLst>
              <a:gs pos="31000">
                <a:srgbClr val="09D1AB">
                  <a:alpha val="15000"/>
                </a:srgbClr>
              </a:gs>
              <a:gs pos="100000">
                <a:srgbClr val="6E7DC3">
                  <a:alpha val="5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863316" y="243648"/>
            <a:ext cx="50671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课题内容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3050" y="1283168"/>
            <a:ext cx="3714187" cy="3860800"/>
          </a:xfrm>
          <a:prstGeom prst="rect">
            <a:avLst/>
          </a:prstGeom>
          <a:blipFill>
            <a:blip r:embed="rId20"/>
            <a:stretch>
              <a:fillRect/>
            </a:stretch>
          </a:blipFill>
          <a:effectLst>
            <a:outerShdw blurRad="76200" dist="38100" dir="2700000" sx="99000" sy="99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文本框 8"/>
          <p:cNvSpPr txBox="1"/>
          <p:nvPr/>
        </p:nvSpPr>
        <p:spPr>
          <a:xfrm>
            <a:off x="7259125" y="5117537"/>
            <a:ext cx="3810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TM32F429NI-EVAL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椭圆 10"/>
          <p:cNvSpPr/>
          <p:nvPr/>
        </p:nvSpPr>
        <p:spPr>
          <a:xfrm>
            <a:off x="608941" y="1306286"/>
            <a:ext cx="842487" cy="842487"/>
          </a:xfrm>
          <a:prstGeom prst="ellipse">
            <a:avLst/>
          </a:prstGeom>
          <a:solidFill>
            <a:srgbClr val="D7F5EF"/>
          </a:solidFill>
          <a:ln>
            <a:noFill/>
          </a:ln>
          <a:effectLst>
            <a:outerShdw blurRad="762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文本框 15"/>
          <p:cNvSpPr txBox="1"/>
          <p:nvPr/>
        </p:nvSpPr>
        <p:spPr>
          <a:xfrm>
            <a:off x="681887" y="1435141"/>
            <a:ext cx="7695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200" b="1" dirty="0" smtClean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01</a:t>
            </a:r>
            <a:endParaRPr lang="zh-CN" altLang="en-US" sz="3200" b="1" dirty="0"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17" name="椭圆 16"/>
          <p:cNvSpPr/>
          <p:nvPr/>
        </p:nvSpPr>
        <p:spPr>
          <a:xfrm>
            <a:off x="608941" y="2612896"/>
            <a:ext cx="842487" cy="842487"/>
          </a:xfrm>
          <a:prstGeom prst="ellipse">
            <a:avLst/>
          </a:prstGeom>
          <a:solidFill>
            <a:srgbClr val="AEEADF"/>
          </a:solidFill>
          <a:ln>
            <a:noFill/>
          </a:ln>
          <a:effectLst>
            <a:outerShdw blurRad="762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文本框 17"/>
          <p:cNvSpPr txBox="1"/>
          <p:nvPr/>
        </p:nvSpPr>
        <p:spPr>
          <a:xfrm>
            <a:off x="681887" y="2741751"/>
            <a:ext cx="7695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200" b="1" dirty="0" smtClean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02</a:t>
            </a:r>
            <a:endParaRPr lang="zh-CN" altLang="en-US" sz="3200" b="1" dirty="0"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19" name="椭圆 18"/>
          <p:cNvSpPr/>
          <p:nvPr/>
        </p:nvSpPr>
        <p:spPr>
          <a:xfrm>
            <a:off x="608941" y="3919506"/>
            <a:ext cx="842487" cy="842487"/>
          </a:xfrm>
          <a:prstGeom prst="ellipse">
            <a:avLst/>
          </a:prstGeom>
          <a:solidFill>
            <a:srgbClr val="96D4CA"/>
          </a:solidFill>
          <a:ln>
            <a:noFill/>
          </a:ln>
          <a:effectLst>
            <a:outerShdw blurRad="762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文本框 19"/>
          <p:cNvSpPr txBox="1"/>
          <p:nvPr/>
        </p:nvSpPr>
        <p:spPr>
          <a:xfrm>
            <a:off x="681887" y="4048361"/>
            <a:ext cx="7695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200" b="1" dirty="0" smtClean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03</a:t>
            </a:r>
            <a:endParaRPr lang="zh-CN" altLang="en-US" sz="3200" b="1" dirty="0">
              <a:solidFill>
                <a:schemeClr val="bg1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21" name="椭圆 20"/>
          <p:cNvSpPr/>
          <p:nvPr/>
        </p:nvSpPr>
        <p:spPr>
          <a:xfrm>
            <a:off x="608941" y="5226116"/>
            <a:ext cx="842487" cy="842487"/>
          </a:xfrm>
          <a:prstGeom prst="ellipse">
            <a:avLst/>
          </a:prstGeom>
          <a:solidFill>
            <a:srgbClr val="64C0B1"/>
          </a:solidFill>
          <a:ln>
            <a:noFill/>
          </a:ln>
          <a:effectLst>
            <a:outerShdw blurRad="762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文本框 21"/>
          <p:cNvSpPr txBox="1"/>
          <p:nvPr/>
        </p:nvSpPr>
        <p:spPr>
          <a:xfrm>
            <a:off x="681887" y="5354971"/>
            <a:ext cx="7695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200" b="1" dirty="0" smtClean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04</a:t>
            </a:r>
            <a:endParaRPr lang="zh-CN" altLang="en-US" sz="3200" b="1" dirty="0">
              <a:solidFill>
                <a:schemeClr val="bg1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1596944" y="1496695"/>
            <a:ext cx="41151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嵌入式开发学习</a:t>
            </a:r>
            <a:endParaRPr lang="zh-CN" altLang="en-US" sz="2400" b="1" dirty="0">
              <a:solidFill>
                <a:schemeClr val="tx1">
                  <a:lumMod val="75000"/>
                  <a:lumOff val="25000"/>
                </a:schemeClr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24" name="文本框 23"/>
          <p:cNvSpPr txBox="1"/>
          <p:nvPr/>
        </p:nvSpPr>
        <p:spPr>
          <a:xfrm>
            <a:off x="1523998" y="2854570"/>
            <a:ext cx="41151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eCos</a:t>
            </a:r>
            <a:r>
              <a:rPr lang="zh-CN" alt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开发环境搭建及移植</a:t>
            </a:r>
            <a:endParaRPr lang="zh-CN" altLang="en-US" sz="2400" b="1" dirty="0">
              <a:solidFill>
                <a:schemeClr val="tx1">
                  <a:lumMod val="75000"/>
                  <a:lumOff val="25000"/>
                </a:schemeClr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1538512" y="4104770"/>
            <a:ext cx="41151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Profinet</a:t>
            </a:r>
            <a:r>
              <a:rPr lang="zh-CN" alt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协议移植</a:t>
            </a:r>
            <a:r>
              <a:rPr lang="en-US" altLang="zh-CN" sz="2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eCos</a:t>
            </a:r>
            <a:endParaRPr lang="zh-CN" altLang="en-US" sz="2400" b="1" dirty="0">
              <a:solidFill>
                <a:schemeClr val="tx1">
                  <a:lumMod val="75000"/>
                  <a:lumOff val="25000"/>
                </a:schemeClr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grpSp>
        <p:nvGrpSpPr>
          <p:cNvPr id="103" name="组合 102"/>
          <p:cNvGrpSpPr/>
          <p:nvPr/>
        </p:nvGrpSpPr>
        <p:grpSpPr>
          <a:xfrm>
            <a:off x="1640966" y="5082508"/>
            <a:ext cx="4447261" cy="1569423"/>
            <a:chOff x="3271838" y="3775075"/>
            <a:chExt cx="5344202" cy="1885950"/>
          </a:xfrm>
        </p:grpSpPr>
        <p:sp>
          <p:nvSpPr>
            <p:cNvPr id="104" name="Line 16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5676900" y="4778375"/>
              <a:ext cx="0" cy="431800"/>
            </a:xfrm>
            <a:prstGeom prst="line">
              <a:avLst/>
            </a:prstGeom>
            <a:noFill/>
            <a:ln w="38100">
              <a:solidFill>
                <a:srgbClr val="33CC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36000" tIns="0" rIns="36000" bIns="0"/>
            <a:lstStyle/>
            <a:p>
              <a:endParaRPr lang="zh-CN" altLang="en-US"/>
            </a:p>
          </p:txBody>
        </p:sp>
        <p:pic>
          <p:nvPicPr>
            <p:cNvPr id="105" name="Picture 23" descr="G_SY01_XX_00272V"/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48563" y="4111625"/>
              <a:ext cx="593725" cy="522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6" name="Text Box 24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7496175" y="3824288"/>
              <a:ext cx="1119865" cy="1941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36000" tIns="0" rIns="36000" bIns="0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indent="-2286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buClr>
                  <a:srgbClr val="FF9900"/>
                </a:buClr>
                <a:buSzPct val="80000"/>
                <a:buFont typeface="Wingdings" pitchFamily="2" charset="2"/>
                <a:buNone/>
              </a:pPr>
              <a:r>
                <a:rPr lang="en-US" altLang="de-DE" sz="1050" b="1" dirty="0">
                  <a:latin typeface="方正兰亭超细黑简体" pitchFamily="2" charset="-122"/>
                  <a:ea typeface="方正兰亭超细黑简体" pitchFamily="2" charset="-122"/>
                </a:rPr>
                <a:t>Web/TCP/IP</a:t>
              </a:r>
              <a:endParaRPr lang="en-US" altLang="de-DE" sz="1200" b="1" dirty="0">
                <a:latin typeface="方正兰亭超细黑简体" pitchFamily="2" charset="-122"/>
                <a:ea typeface="方正兰亭超细黑简体" pitchFamily="2" charset="-122"/>
              </a:endParaRPr>
            </a:p>
          </p:txBody>
        </p:sp>
        <p:grpSp>
          <p:nvGrpSpPr>
            <p:cNvPr id="107" name="Group 28"/>
            <p:cNvGrpSpPr>
              <a:grpSpLocks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32575" y="4111625"/>
              <a:ext cx="711200" cy="520700"/>
              <a:chOff x="4606" y="612"/>
              <a:chExt cx="509" cy="373"/>
            </a:xfrm>
          </p:grpSpPr>
          <p:grpSp>
            <p:nvGrpSpPr>
              <p:cNvPr id="131" name="Group 29"/>
              <p:cNvGrpSpPr>
                <a:grpSpLocks/>
              </p:cNvGrpSpPr>
              <p:nvPr/>
            </p:nvGrpSpPr>
            <p:grpSpPr bwMode="auto">
              <a:xfrm>
                <a:off x="4606" y="612"/>
                <a:ext cx="509" cy="373"/>
                <a:chOff x="1081" y="701"/>
                <a:chExt cx="3029" cy="2274"/>
              </a:xfrm>
            </p:grpSpPr>
            <p:grpSp>
              <p:nvGrpSpPr>
                <p:cNvPr id="133" name="Group 30"/>
                <p:cNvGrpSpPr>
                  <a:grpSpLocks/>
                </p:cNvGrpSpPr>
                <p:nvPr/>
              </p:nvGrpSpPr>
              <p:grpSpPr bwMode="auto">
                <a:xfrm>
                  <a:off x="1081" y="701"/>
                  <a:ext cx="3029" cy="2274"/>
                  <a:chOff x="1503" y="711"/>
                  <a:chExt cx="4561" cy="3425"/>
                </a:xfrm>
              </p:grpSpPr>
              <p:grpSp>
                <p:nvGrpSpPr>
                  <p:cNvPr id="136" name="Group 31"/>
                  <p:cNvGrpSpPr>
                    <a:grpSpLocks/>
                  </p:cNvGrpSpPr>
                  <p:nvPr/>
                </p:nvGrpSpPr>
                <p:grpSpPr bwMode="auto">
                  <a:xfrm>
                    <a:off x="1503" y="711"/>
                    <a:ext cx="4561" cy="3425"/>
                    <a:chOff x="1528" y="858"/>
                    <a:chExt cx="4146" cy="3114"/>
                  </a:xfrm>
                </p:grpSpPr>
                <p:pic>
                  <p:nvPicPr>
                    <p:cNvPr id="138" name="Picture 32"/>
                    <p:cNvPicPr preferRelativeResize="0">
                      <a:picLocks noChangeAspect="1" noChangeArrowheads="1"/>
                    </p:cNvPicPr>
                    <p:nvPr/>
                  </p:nvPicPr>
                  <p:blipFill>
                    <a:blip r:embed="rId22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1528" y="858"/>
                      <a:ext cx="4146" cy="3114"/>
                    </a:xfrm>
                    <a:prstGeom prst="rect">
                      <a:avLst/>
                    </a:prstGeom>
                    <a:solidFill>
                      <a:schemeClr val="bg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  <p:graphicFrame>
                  <p:nvGraphicFramePr>
                    <p:cNvPr id="139" name="Object 33"/>
                    <p:cNvGraphicFramePr>
                      <a:graphicFrameLocks noChangeAspect="1"/>
                    </p:cNvGraphicFramePr>
                    <p:nvPr/>
                  </p:nvGraphicFramePr>
                  <p:xfrm>
                    <a:off x="5110" y="874"/>
                    <a:ext cx="561" cy="418"/>
                  </p:xfrm>
                  <a:graphic>
                    <a:graphicData uri="http://schemas.openxmlformats.org/presentationml/2006/ole">
                      <mc:AlternateContent xmlns:mc="http://schemas.openxmlformats.org/markup-compatibility/2006">
                        <mc:Choice xmlns:v="urn:schemas-microsoft-com:vml" Requires="v">
                          <p:oleObj spid="_x0000_s2214" name="Bitmap Image" r:id="rId23" imgW="857143" imgH="638264" progId="Paint.Picture">
                            <p:embed/>
                          </p:oleObj>
                        </mc:Choice>
                        <mc:Fallback>
                          <p:oleObj name="Bitmap Image" r:id="rId23" imgW="857143" imgH="638264" progId="Paint.Picture">
                            <p:embed/>
                            <p:pic>
                              <p:nvPicPr>
                                <p:cNvPr id="0" name=""/>
                                <p:cNvPicPr>
                                  <a:picLocks noChangeAspect="1" noChangeArrowheads="1"/>
                                </p:cNvPicPr>
                                <p:nvPr/>
                              </p:nvPicPr>
                              <p:blipFill>
                                <a:blip r:embed="rId24">
                                  <a:extLst>
                                    <a:ext uri="{28A0092B-C50C-407E-A947-70E740481C1C}">
                                      <a14:useLocalDpi xmlns:a14="http://schemas.microsoft.com/office/drawing/2010/main" val="0"/>
                                    </a:ext>
                                  </a:extLst>
                                </a:blip>
                                <a:srcRect/>
                                <a:stretch>
                                  <a:fillRect/>
                                </a:stretch>
                              </p:blipFill>
                              <p:spPr bwMode="auto">
                                <a:xfrm>
                                  <a:off x="5110" y="874"/>
                                  <a:ext cx="561" cy="418"/>
                                </a:xfrm>
                                <a:prstGeom prst="rect">
                                  <a:avLst/>
                                </a:prstGeom>
                                <a:noFill/>
                                <a:ln>
                                  <a:noFill/>
                                </a:ln>
                                <a:effectLst/>
                                <a:extLst>
                                  <a:ext uri="{909E8E84-426E-40DD-AFC4-6F175D3DCCD1}">
                                    <a14:hiddenFill xmlns:a14="http://schemas.microsoft.com/office/drawing/2010/main">
                                      <a:solidFill>
                                        <a:schemeClr val="accent1"/>
                                      </a:solidFill>
                                    </a14:hiddenFill>
                                  </a:ext>
                                  <a:ext uri="{91240B29-F687-4F45-9708-019B960494DF}">
                                    <a14:hiddenLine xmlns:a14="http://schemas.microsoft.com/office/drawing/2010/main" w="9525">
                                      <a:solidFill>
                                        <a:schemeClr val="tx1"/>
                                      </a:solidFill>
                                      <a:miter lim="800000"/>
                                      <a:headEnd/>
                                      <a:tailEnd/>
                                    </a14:hiddenLine>
                                  </a:ext>
                                  <a:ext uri="{AF507438-7753-43E0-B8FC-AC1667EBCBE1}">
                                    <a14:hiddenEffects xmlns:a14="http://schemas.microsoft.com/office/drawing/2010/main">
                                      <a:effectLst>
                                        <a:outerShdw dist="35921" dir="2700000" algn="ctr" rotWithShape="0">
                                          <a:schemeClr val="bg2"/>
                                        </a:outerShdw>
                                      </a:effectLst>
                                    </a14:hiddenEffects>
                                  </a:ext>
                                </a:extLst>
                              </p:spPr>
                            </p:pic>
                          </p:oleObj>
                        </mc:Fallback>
                      </mc:AlternateContent>
                    </a:graphicData>
                  </a:graphic>
                </p:graphicFrame>
              </p:grpSp>
              <p:graphicFrame>
                <p:nvGraphicFramePr>
                  <p:cNvPr id="137" name="Object 34"/>
                  <p:cNvGraphicFramePr>
                    <a:graphicFrameLocks noChangeAspect="1"/>
                  </p:cNvGraphicFramePr>
                  <p:nvPr/>
                </p:nvGraphicFramePr>
                <p:xfrm>
                  <a:off x="1511" y="1185"/>
                  <a:ext cx="4548" cy="2713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2215" name="Bitmap Image" r:id="rId25" imgW="885949" imgH="781159" progId="Paint.Picture">
                          <p:embed/>
                        </p:oleObj>
                      </mc:Choice>
                      <mc:Fallback>
                        <p:oleObj name="Bitmap Image" r:id="rId25" imgW="885949" imgH="781159" progId="Paint.Picture">
                          <p:embed/>
                          <p:pic>
                            <p:nvPicPr>
                              <p:cNvPr id="0" name=""/>
                              <p:cNvPicPr>
                                <a:picLocks noChangeAspect="1" noChangeArrowheads="1"/>
                              </p:cNvPicPr>
                              <p:nvPr/>
                            </p:nvPicPr>
                            <p:blipFill>
                              <a:blip r:embed="rId26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</a:extLst>
                              </a:blip>
                              <a:srcRect/>
                              <a:stretch>
                                <a:fillRect/>
                              </a:stretch>
                            </p:blipFill>
                            <p:spPr bwMode="auto">
                              <a:xfrm>
                                <a:off x="1511" y="1185"/>
                                <a:ext cx="4548" cy="2713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  <a:effectLst/>
                              <a:extLst>
                                <a:ext uri="{909E8E84-426E-40DD-AFC4-6F175D3DCCD1}">
                                  <a14:hiddenFill xmlns:a14="http://schemas.microsoft.com/office/drawing/2010/main">
                                    <a:solidFill>
                                      <a:schemeClr val="accent1"/>
                                    </a:solidFill>
                                  </a14:hiddenFill>
                                </a:ex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chemeClr val="tx1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  <a:ext uri="{AF507438-7753-43E0-B8FC-AC1667EBCBE1}">
                                  <a14:hiddenEffects xmlns:a14="http://schemas.microsoft.com/office/drawing/2010/main">
                                    <a:effectLst>
                                      <a:outerShdw dist="35921" dir="2700000" algn="ctr" rotWithShape="0">
                                        <a:schemeClr val="bg2"/>
                                      </a:outerShdw>
                                    </a:effectLst>
                                  </a14:hiddenEffects>
                                </a:ext>
                              </a:extLst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</p:grpSp>
            <p:graphicFrame>
              <p:nvGraphicFramePr>
                <p:cNvPr id="134" name="Object 35"/>
                <p:cNvGraphicFramePr>
                  <a:graphicFrameLocks noChangeAspect="1"/>
                </p:cNvGraphicFramePr>
                <p:nvPr/>
              </p:nvGraphicFramePr>
              <p:xfrm>
                <a:off x="1365" y="1079"/>
                <a:ext cx="2453" cy="1718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2216" name="Bitmap Image" r:id="rId27" imgW="6114286" imgH="4180952" progId="Paint.Picture">
                        <p:embed/>
                      </p:oleObj>
                    </mc:Choice>
                    <mc:Fallback>
                      <p:oleObj name="Bitmap Image" r:id="rId27" imgW="6114286" imgH="4180952" progId="Paint.Picture">
                        <p:embed/>
                        <p:pic>
                          <p:nvPicPr>
                            <p:cNvPr id="0" name="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28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1365" y="1079"/>
                              <a:ext cx="2453" cy="1718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chemeClr val="accent1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chemeClr val="tx1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  <a:ext uri="{AF507438-7753-43E0-B8FC-AC1667EBCBE1}">
                                <a14:hiddenEffects xmlns:a14="http://schemas.microsoft.com/office/drawing/2010/main">
                                  <a:effectLst>
                                    <a:outerShdw dist="35921" dir="2700000" algn="ctr" rotWithShape="0">
                                      <a:schemeClr val="bg2"/>
                                    </a:outerShdw>
                                  </a:effectLst>
                                </a14:hiddenEffects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graphicFrame>
              <p:nvGraphicFramePr>
                <p:cNvPr id="135" name="Object 36"/>
                <p:cNvGraphicFramePr>
                  <a:graphicFrameLocks noChangeAspect="1"/>
                </p:cNvGraphicFramePr>
                <p:nvPr/>
              </p:nvGraphicFramePr>
              <p:xfrm>
                <a:off x="1109" y="764"/>
                <a:ext cx="394" cy="80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2217" name="Bitmap Image" r:id="rId29" imgW="1038370" imgH="209524" progId="Paint.Picture">
                        <p:embed/>
                      </p:oleObj>
                    </mc:Choice>
                    <mc:Fallback>
                      <p:oleObj name="Bitmap Image" r:id="rId29" imgW="1038370" imgH="209524" progId="Paint.Picture">
                        <p:embed/>
                        <p:pic>
                          <p:nvPicPr>
                            <p:cNvPr id="0" name="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30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1109" y="764"/>
                              <a:ext cx="394" cy="80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chemeClr val="accent1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6350">
                                  <a:solidFill>
                                    <a:schemeClr val="tx1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  <a:ext uri="{AF507438-7753-43E0-B8FC-AC1667EBCBE1}">
                                <a14:hiddenEffects xmlns:a14="http://schemas.microsoft.com/office/drawing/2010/main">
                                  <a:effectLst>
                                    <a:outerShdw dist="35921" dir="2700000" algn="ctr" rotWithShape="0">
                                      <a:schemeClr val="bg2"/>
                                    </a:outerShdw>
                                  </a:effectLst>
                                </a14:hiddenEffects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</p:grpSp>
          <p:pic>
            <p:nvPicPr>
              <p:cNvPr id="132" name="Picture 37" descr="ChangedMA"/>
              <p:cNvPicPr preferRelativeResize="0">
                <a:picLocks noChangeAspect="1" noChangeArrowheads="1"/>
              </p:cNvPicPr>
              <p:nvPr/>
            </p:nvPicPr>
            <p:blipFill>
              <a:blip r:embed="rId3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59" y="705"/>
                <a:ext cx="208" cy="2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08" name="Text Box 38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343649" y="3824288"/>
              <a:ext cx="1042813" cy="1941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36000" tIns="0" rIns="36000" bIns="0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indent="-2286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buClr>
                  <a:srgbClr val="FF9900"/>
                </a:buClr>
                <a:buSzPct val="80000"/>
                <a:buFont typeface="Wingdings" pitchFamily="2" charset="2"/>
                <a:buNone/>
              </a:pPr>
              <a:r>
                <a:rPr lang="en-US" altLang="de-DE" sz="1050" b="1" dirty="0">
                  <a:latin typeface="方正兰亭超细黑简体" pitchFamily="2" charset="-122"/>
                  <a:ea typeface="方正兰亭超细黑简体" pitchFamily="2" charset="-122"/>
                </a:rPr>
                <a:t>Diagnostics</a:t>
              </a:r>
              <a:endParaRPr lang="en-US" altLang="de-DE" sz="1200" b="1" dirty="0">
                <a:latin typeface="方正兰亭超细黑简体" pitchFamily="2" charset="-122"/>
                <a:ea typeface="方正兰亭超细黑简体" pitchFamily="2" charset="-122"/>
              </a:endParaRPr>
            </a:p>
          </p:txBody>
        </p:sp>
        <p:sp>
          <p:nvSpPr>
            <p:cNvPr id="109" name="Rectangle 8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271838" y="4746625"/>
              <a:ext cx="4784725" cy="762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36000" tIns="0" rIns="36000" bIns="0" anchor="ctr"/>
            <a:lstStyle/>
            <a:p>
              <a:pPr>
                <a:buClr>
                  <a:srgbClr val="FF9900"/>
                </a:buClr>
                <a:buSzPct val="80000"/>
                <a:buFont typeface="Wingdings" pitchFamily="2" charset="2"/>
                <a:buNone/>
              </a:pPr>
              <a:endParaRPr lang="en-US" altLang="de-DE" sz="1800" b="1"/>
            </a:p>
          </p:txBody>
        </p:sp>
        <p:sp>
          <p:nvSpPr>
            <p:cNvPr id="110" name="Line 17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 flipV="1">
              <a:off x="7908925" y="4567238"/>
              <a:ext cx="0" cy="227012"/>
            </a:xfrm>
            <a:prstGeom prst="line">
              <a:avLst/>
            </a:prstGeom>
            <a:noFill/>
            <a:ln w="38100">
              <a:solidFill>
                <a:srgbClr val="33CC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36000" tIns="0" rIns="36000" bIns="0"/>
            <a:lstStyle/>
            <a:p>
              <a:endParaRPr lang="zh-CN" altLang="en-US"/>
            </a:p>
          </p:txBody>
        </p:sp>
        <p:sp>
          <p:nvSpPr>
            <p:cNvPr id="111" name="Line 17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 flipV="1">
              <a:off x="6972300" y="4567238"/>
              <a:ext cx="0" cy="227012"/>
            </a:xfrm>
            <a:prstGeom prst="line">
              <a:avLst/>
            </a:prstGeom>
            <a:noFill/>
            <a:ln w="38100">
              <a:solidFill>
                <a:srgbClr val="33CC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36000" tIns="0" rIns="36000" bIns="0"/>
            <a:lstStyle/>
            <a:p>
              <a:endParaRPr lang="zh-CN" altLang="en-US"/>
            </a:p>
          </p:txBody>
        </p:sp>
        <p:sp>
          <p:nvSpPr>
            <p:cNvPr id="112" name="Line 13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 flipV="1">
              <a:off x="3725863" y="4562475"/>
              <a:ext cx="0" cy="225425"/>
            </a:xfrm>
            <a:prstGeom prst="line">
              <a:avLst/>
            </a:prstGeom>
            <a:noFill/>
            <a:ln w="38100">
              <a:solidFill>
                <a:srgbClr val="33CC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36000" tIns="0" rIns="36000" bIns="0"/>
            <a:lstStyle/>
            <a:p>
              <a:endParaRPr lang="zh-CN" altLang="en-US"/>
            </a:p>
          </p:txBody>
        </p:sp>
        <p:sp>
          <p:nvSpPr>
            <p:cNvPr id="113" name="Line 15"/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auto">
            <a:xfrm flipV="1">
              <a:off x="4754563" y="4562475"/>
              <a:ext cx="0" cy="227013"/>
            </a:xfrm>
            <a:prstGeom prst="line">
              <a:avLst/>
            </a:prstGeom>
            <a:noFill/>
            <a:ln w="38100">
              <a:solidFill>
                <a:srgbClr val="33CC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36000" tIns="0" rIns="36000" bIns="0"/>
            <a:lstStyle/>
            <a:p>
              <a:endParaRPr lang="zh-CN" altLang="en-US"/>
            </a:p>
          </p:txBody>
        </p:sp>
        <p:sp>
          <p:nvSpPr>
            <p:cNvPr id="114" name="Line 17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 flipV="1">
              <a:off x="5773738" y="4562475"/>
              <a:ext cx="0" cy="227013"/>
            </a:xfrm>
            <a:prstGeom prst="line">
              <a:avLst/>
            </a:prstGeom>
            <a:noFill/>
            <a:ln w="38100">
              <a:solidFill>
                <a:srgbClr val="33CC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36000" tIns="0" rIns="36000" bIns="0"/>
            <a:lstStyle/>
            <a:p>
              <a:endParaRPr lang="zh-CN" altLang="en-US"/>
            </a:p>
          </p:txBody>
        </p:sp>
        <p:sp>
          <p:nvSpPr>
            <p:cNvPr id="115" name="Rectangle 4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271838" y="4746625"/>
              <a:ext cx="4784725" cy="76200"/>
            </a:xfrm>
            <a:prstGeom prst="rect">
              <a:avLst/>
            </a:prstGeom>
            <a:solidFill>
              <a:srgbClr val="33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36000" tIns="0" rIns="36000" bIns="0" anchor="ctr"/>
            <a:lstStyle/>
            <a:p>
              <a:pPr>
                <a:buClr>
                  <a:srgbClr val="FF9900"/>
                </a:buClr>
                <a:buSzPct val="80000"/>
                <a:buFont typeface="Wingdings" pitchFamily="2" charset="2"/>
                <a:buNone/>
              </a:pPr>
              <a:endParaRPr lang="en-US" altLang="de-DE" sz="1800" b="1"/>
            </a:p>
          </p:txBody>
        </p:sp>
        <p:sp>
          <p:nvSpPr>
            <p:cNvPr id="116" name="Line 50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 flipV="1">
              <a:off x="5676900" y="4830763"/>
              <a:ext cx="17463" cy="307975"/>
            </a:xfrm>
            <a:prstGeom prst="line">
              <a:avLst/>
            </a:prstGeom>
            <a:noFill/>
            <a:ln w="28575">
              <a:solidFill>
                <a:srgbClr val="525765"/>
              </a:solidFill>
              <a:round/>
              <a:headEnd type="triangle" w="lg" len="lg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36000" tIns="0" rIns="36000" bIns="0"/>
            <a:lstStyle/>
            <a:p>
              <a:endParaRPr lang="zh-CN" altLang="en-US"/>
            </a:p>
          </p:txBody>
        </p:sp>
        <p:grpSp>
          <p:nvGrpSpPr>
            <p:cNvPr id="117" name="Group 61"/>
            <p:cNvGrpSpPr>
              <a:grpSpLocks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4359275" y="3895725"/>
              <a:ext cx="693738" cy="711200"/>
              <a:chOff x="2912" y="1305"/>
              <a:chExt cx="437" cy="448"/>
            </a:xfrm>
          </p:grpSpPr>
          <p:pic>
            <p:nvPicPr>
              <p:cNvPr id="129" name="Picture 62"/>
              <p:cNvPicPr>
                <a:picLocks noChangeAspect="1" noChangeArrowheads="1"/>
              </p:cNvPicPr>
              <p:nvPr/>
            </p:nvPicPr>
            <p:blipFill>
              <a:blip r:embed="rId3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12" y="1460"/>
                <a:ext cx="437" cy="29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30" name="Text Box 63"/>
              <p:cNvSpPr txBox="1">
                <a:spLocks noChangeArrowheads="1"/>
              </p:cNvSpPr>
              <p:nvPr/>
            </p:nvSpPr>
            <p:spPr bwMode="auto">
              <a:xfrm>
                <a:off x="2989" y="1305"/>
                <a:ext cx="293" cy="1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36000" tIns="0" rIns="36000" bIns="0">
                <a:spAutoFit/>
              </a:bodyPr>
              <a:lstStyle>
                <a:lvl1pPr>
                  <a:defRPr sz="22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indent="-228600"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indent="-228600" eaLnBrk="0" hangingPunct="0"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indent="-228600" eaLnBrk="0" hangingPunct="0"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indent="-228600" eaLnBrk="0" hangingPunct="0"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indent="-228600" eaLnBrk="0" hangingPunct="0"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>
                  <a:lnSpc>
                    <a:spcPct val="90000"/>
                  </a:lnSpc>
                  <a:buClr>
                    <a:srgbClr val="FF9900"/>
                  </a:buClr>
                  <a:buSzPct val="80000"/>
                  <a:buFont typeface="Wingdings" pitchFamily="2" charset="2"/>
                  <a:buNone/>
                </a:pPr>
                <a:r>
                  <a:rPr lang="en-US" altLang="de-DE" sz="1200" b="1" dirty="0">
                    <a:latin typeface="方正兰亭超细黑简体" pitchFamily="2" charset="-122"/>
                    <a:ea typeface="方正兰亭超细黑简体" pitchFamily="2" charset="-122"/>
                  </a:rPr>
                  <a:t>HMI</a:t>
                </a:r>
              </a:p>
            </p:txBody>
          </p:sp>
        </p:grpSp>
        <p:grpSp>
          <p:nvGrpSpPr>
            <p:cNvPr id="118" name="Group 64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3392486" y="3775075"/>
              <a:ext cx="761999" cy="858838"/>
              <a:chOff x="2303" y="1305"/>
              <a:chExt cx="480" cy="541"/>
            </a:xfrm>
          </p:grpSpPr>
          <p:grpSp>
            <p:nvGrpSpPr>
              <p:cNvPr id="125" name="Group 65"/>
              <p:cNvGrpSpPr>
                <a:grpSpLocks/>
              </p:cNvGrpSpPr>
              <p:nvPr/>
            </p:nvGrpSpPr>
            <p:grpSpPr bwMode="auto">
              <a:xfrm>
                <a:off x="2313" y="1451"/>
                <a:ext cx="439" cy="395"/>
                <a:chOff x="2253" y="1305"/>
                <a:chExt cx="562" cy="505"/>
              </a:xfrm>
            </p:grpSpPr>
            <p:pic>
              <p:nvPicPr>
                <p:cNvPr id="127" name="Picture 66" descr="G_SY01_XX_00272V"/>
                <p:cNvPicPr>
                  <a:picLocks noChangeAspect="1" noChangeArrowheads="1"/>
                </p:cNvPicPr>
                <p:nvPr/>
              </p:nvPicPr>
              <p:blipFill>
                <a:blip r:embed="rId2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253" y="1305"/>
                  <a:ext cx="446" cy="39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28" name="Picture 67" descr="G_SY01_XX_00274V"/>
                <p:cNvPicPr>
                  <a:picLocks noChangeAspect="1" noChangeArrowheads="1"/>
                </p:cNvPicPr>
                <p:nvPr/>
              </p:nvPicPr>
              <p:blipFill>
                <a:blip r:embed="rId3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431" y="1476"/>
                  <a:ext cx="384" cy="33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sp>
            <p:nvSpPr>
              <p:cNvPr id="126" name="Text Box 68"/>
              <p:cNvSpPr txBox="1">
                <a:spLocks noChangeArrowheads="1"/>
              </p:cNvSpPr>
              <p:nvPr/>
            </p:nvSpPr>
            <p:spPr bwMode="auto">
              <a:xfrm>
                <a:off x="2303" y="1305"/>
                <a:ext cx="480" cy="1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36000" tIns="0" rIns="36000" bIns="0">
                <a:spAutoFit/>
              </a:bodyPr>
              <a:lstStyle>
                <a:lvl1pPr>
                  <a:defRPr sz="22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indent="-228600"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indent="-228600" eaLnBrk="0" hangingPunct="0"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indent="-228600" eaLnBrk="0" hangingPunct="0"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indent="-228600" eaLnBrk="0" hangingPunct="0"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indent="-228600" eaLnBrk="0" hangingPunct="0"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>
                  <a:lnSpc>
                    <a:spcPct val="90000"/>
                  </a:lnSpc>
                  <a:buClr>
                    <a:srgbClr val="FF9900"/>
                  </a:buClr>
                  <a:buSzPct val="80000"/>
                  <a:buFont typeface="Wingdings" pitchFamily="2" charset="2"/>
                  <a:buNone/>
                </a:pPr>
                <a:r>
                  <a:rPr lang="en-US" altLang="de-DE" sz="1200" b="1" dirty="0">
                    <a:latin typeface="方正兰亭超细黑简体" pitchFamily="2" charset="-122"/>
                    <a:ea typeface="方正兰亭超细黑简体" pitchFamily="2" charset="-122"/>
                  </a:rPr>
                  <a:t>PG/PC</a:t>
                </a:r>
              </a:p>
            </p:txBody>
          </p:sp>
        </p:grpSp>
        <p:grpSp>
          <p:nvGrpSpPr>
            <p:cNvPr id="119" name="Group 69"/>
            <p:cNvGrpSpPr>
              <a:grpSpLocks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5243513" y="3817938"/>
              <a:ext cx="1225550" cy="796925"/>
              <a:chOff x="3469" y="1256"/>
              <a:chExt cx="772" cy="502"/>
            </a:xfrm>
          </p:grpSpPr>
          <p:sp>
            <p:nvSpPr>
              <p:cNvPr id="122" name="Text Box 70"/>
              <p:cNvSpPr txBox="1">
                <a:spLocks noChangeArrowheads="1"/>
              </p:cNvSpPr>
              <p:nvPr/>
            </p:nvSpPr>
            <p:spPr bwMode="auto">
              <a:xfrm>
                <a:off x="3821" y="1305"/>
                <a:ext cx="287" cy="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36000" tIns="0" rIns="36000" bIns="0">
                <a:spAutoFit/>
              </a:bodyPr>
              <a:lstStyle>
                <a:lvl1pPr>
                  <a:defRPr sz="22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indent="-228600"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indent="-228600" eaLnBrk="0" hangingPunct="0"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indent="-228600" eaLnBrk="0" hangingPunct="0"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indent="-228600" eaLnBrk="0" hangingPunct="0"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indent="-228600" eaLnBrk="0" hangingPunct="0"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>
                  <a:lnSpc>
                    <a:spcPct val="90000"/>
                  </a:lnSpc>
                  <a:buClr>
                    <a:srgbClr val="FF9900"/>
                  </a:buClr>
                  <a:buSzPct val="80000"/>
                  <a:buFont typeface="Wingdings" pitchFamily="2" charset="2"/>
                  <a:buNone/>
                </a:pPr>
                <a:r>
                  <a:rPr lang="en-US" altLang="de-DE" sz="1050" b="1" dirty="0">
                    <a:latin typeface="方正兰亭超细黑简体" pitchFamily="2" charset="-122"/>
                    <a:ea typeface="方正兰亭超细黑简体" pitchFamily="2" charset="-122"/>
                  </a:rPr>
                  <a:t>PLC</a:t>
                </a:r>
              </a:p>
            </p:txBody>
          </p:sp>
          <p:pic>
            <p:nvPicPr>
              <p:cNvPr id="123" name="Picture 71" descr="G_SY01_XX_00206V"/>
              <p:cNvPicPr>
                <a:picLocks noChangeAspect="1" noChangeArrowheads="1"/>
              </p:cNvPicPr>
              <p:nvPr/>
            </p:nvPicPr>
            <p:blipFill>
              <a:blip r:embed="rId3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69" y="1256"/>
                <a:ext cx="340" cy="4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4" name="Picture 72"/>
              <p:cNvPicPr>
                <a:picLocks noChangeAspect="1" noChangeArrowheads="1"/>
              </p:cNvPicPr>
              <p:nvPr/>
            </p:nvPicPr>
            <p:blipFill>
              <a:blip r:embed="rId3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76" y="1457"/>
                <a:ext cx="665" cy="3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20" name="Text Box 75"/>
            <p:cNvSpPr txBox="1">
              <a:spLocks noChangeArrowheads="1"/>
            </p:cNvSpPr>
            <p:nvPr/>
          </p:nvSpPr>
          <p:spPr bwMode="auto">
            <a:xfrm>
              <a:off x="6084888" y="5281613"/>
              <a:ext cx="1171875" cy="1997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36000" tIns="0" rIns="36000" bIns="0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indent="-2286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lnSpc>
                  <a:spcPct val="90000"/>
                </a:lnSpc>
                <a:buClr>
                  <a:srgbClr val="FF9900"/>
                </a:buClr>
                <a:buSzPct val="80000"/>
                <a:buFont typeface="Wingdings" pitchFamily="2" charset="2"/>
                <a:buNone/>
              </a:pPr>
              <a:r>
                <a:rPr lang="en-US" altLang="de-DE" sz="1200" b="1" dirty="0">
                  <a:latin typeface="方正兰亭超细黑简体" pitchFamily="2" charset="-122"/>
                  <a:ea typeface="方正兰亭超细黑简体" pitchFamily="2" charset="-122"/>
                </a:rPr>
                <a:t>Field device</a:t>
              </a:r>
            </a:p>
          </p:txBody>
        </p:sp>
        <p:pic>
          <p:nvPicPr>
            <p:cNvPr id="121" name="Picture 41"/>
            <p:cNvPicPr>
              <a:picLocks noChangeAspect="1" noChangeArrowheads="1"/>
            </p:cNvPicPr>
            <p:nvPr/>
          </p:nvPicPr>
          <p:blipFill>
            <a:blip r:embed="rId36" cstate="print">
              <a:lum contrast="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64163" y="5137150"/>
              <a:ext cx="576262" cy="523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40" name="组合 139"/>
          <p:cNvGrpSpPr/>
          <p:nvPr/>
        </p:nvGrpSpPr>
        <p:grpSpPr>
          <a:xfrm>
            <a:off x="236866" y="243648"/>
            <a:ext cx="708099" cy="471382"/>
            <a:chOff x="427929" y="2964755"/>
            <a:chExt cx="945409" cy="629359"/>
          </a:xfrm>
        </p:grpSpPr>
        <p:sp>
          <p:nvSpPr>
            <p:cNvPr id="141" name="任意多边形 140"/>
            <p:cNvSpPr/>
            <p:nvPr/>
          </p:nvSpPr>
          <p:spPr>
            <a:xfrm rot="18453518">
              <a:off x="712286" y="2680398"/>
              <a:ext cx="376696" cy="945409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31000">
                  <a:srgbClr val="09D1AB">
                    <a:alpha val="15000"/>
                  </a:srgbClr>
                </a:gs>
                <a:gs pos="100000">
                  <a:srgbClr val="6E7DC3">
                    <a:alpha val="50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2" name="任意多边形 141"/>
            <p:cNvSpPr/>
            <p:nvPr/>
          </p:nvSpPr>
          <p:spPr>
            <a:xfrm rot="16200000">
              <a:off x="719645" y="3042462"/>
              <a:ext cx="314355" cy="788949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31000">
                  <a:srgbClr val="09D1AB">
                    <a:alpha val="15000"/>
                  </a:srgbClr>
                </a:gs>
                <a:gs pos="100000">
                  <a:srgbClr val="6E7DC3">
                    <a:alpha val="50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771476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/>
            </a:gs>
            <a:gs pos="100000">
              <a:schemeClr val="bg1">
                <a:lumMod val="9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Picture 1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071" y="626275"/>
            <a:ext cx="6066178" cy="5141130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0" name="文本框 61"/>
          <p:cNvSpPr txBox="1"/>
          <p:nvPr/>
        </p:nvSpPr>
        <p:spPr>
          <a:xfrm>
            <a:off x="7723206" y="1734900"/>
            <a:ext cx="4789582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Adapt：</a:t>
            </a:r>
          </a:p>
          <a:p>
            <a:endParaRPr lang="en-US" altLang="zh-CN" sz="2800" b="1" dirty="0">
              <a:solidFill>
                <a:schemeClr val="tx1">
                  <a:lumMod val="65000"/>
                  <a:lumOff val="35000"/>
                </a:schemeClr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  <a:p>
            <a:r>
              <a:rPr lang="en-US" altLang="zh-CN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OS interface</a:t>
            </a:r>
          </a:p>
          <a:p>
            <a:endParaRPr lang="en-US" altLang="zh-CN" sz="2400" b="1" dirty="0">
              <a:solidFill>
                <a:schemeClr val="tx1">
                  <a:lumMod val="65000"/>
                  <a:lumOff val="35000"/>
                </a:schemeClr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  <a:p>
            <a:r>
              <a:rPr lang="en-US" altLang="zh-CN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OS socket interface</a:t>
            </a:r>
          </a:p>
          <a:p>
            <a:endParaRPr lang="en-US" altLang="zh-CN" sz="2400" b="1" dirty="0">
              <a:solidFill>
                <a:schemeClr val="tx1">
                  <a:lumMod val="65000"/>
                  <a:lumOff val="35000"/>
                </a:schemeClr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  <a:p>
            <a:r>
              <a:rPr lang="en-US" altLang="zh-CN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BSP </a:t>
            </a:r>
            <a:r>
              <a:rPr lang="en-US" altLang="zh-CN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interface</a:t>
            </a:r>
            <a:endParaRPr lang="en-US" altLang="zh-CN" sz="2400" b="1" dirty="0" smtClean="0">
              <a:solidFill>
                <a:schemeClr val="tx1">
                  <a:lumMod val="65000"/>
                  <a:lumOff val="35000"/>
                </a:schemeClr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grpSp>
        <p:nvGrpSpPr>
          <p:cNvPr id="61" name="组合 60"/>
          <p:cNvGrpSpPr/>
          <p:nvPr/>
        </p:nvGrpSpPr>
        <p:grpSpPr>
          <a:xfrm rot="14620264">
            <a:off x="-995068" y="4637191"/>
            <a:ext cx="2736816" cy="1989327"/>
            <a:chOff x="6594426" y="-270691"/>
            <a:chExt cx="1204002" cy="875161"/>
          </a:xfrm>
        </p:grpSpPr>
        <p:sp>
          <p:nvSpPr>
            <p:cNvPr id="62" name="任意多边形 61"/>
            <p:cNvSpPr/>
            <p:nvPr/>
          </p:nvSpPr>
          <p:spPr>
            <a:xfrm rot="10293356">
              <a:off x="6634945" y="-270691"/>
              <a:ext cx="348706" cy="875161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31000">
                  <a:srgbClr val="09D1AB">
                    <a:alpha val="15000"/>
                  </a:srgbClr>
                </a:gs>
                <a:gs pos="100000">
                  <a:srgbClr val="6E7DC3">
                    <a:alpha val="50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3" name="任意多边形 62"/>
            <p:cNvSpPr/>
            <p:nvPr/>
          </p:nvSpPr>
          <p:spPr>
            <a:xfrm rot="7873659">
              <a:off x="6956561" y="-466054"/>
              <a:ext cx="479732" cy="1204002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31000">
                  <a:srgbClr val="09D1AB">
                    <a:alpha val="15000"/>
                  </a:srgbClr>
                </a:gs>
                <a:gs pos="100000">
                  <a:srgbClr val="6E7DC3">
                    <a:alpha val="50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64" name="任意多边形 63"/>
          <p:cNvSpPr/>
          <p:nvPr/>
        </p:nvSpPr>
        <p:spPr>
          <a:xfrm rot="19008155">
            <a:off x="11392315" y="3060510"/>
            <a:ext cx="1512634" cy="2559563"/>
          </a:xfrm>
          <a:custGeom>
            <a:avLst/>
            <a:gdLst>
              <a:gd name="connsiteX0" fmla="*/ 1007807 w 2015614"/>
              <a:gd name="connsiteY0" fmla="*/ 0 h 4367958"/>
              <a:gd name="connsiteX1" fmla="*/ 1173272 w 2015614"/>
              <a:gd name="connsiteY1" fmla="*/ 150385 h 4367958"/>
              <a:gd name="connsiteX2" fmla="*/ 2015614 w 2015614"/>
              <a:gd name="connsiteY2" fmla="*/ 2183979 h 4367958"/>
              <a:gd name="connsiteX3" fmla="*/ 1173272 w 2015614"/>
              <a:gd name="connsiteY3" fmla="*/ 4217573 h 4367958"/>
              <a:gd name="connsiteX4" fmla="*/ 1007808 w 2015614"/>
              <a:gd name="connsiteY4" fmla="*/ 4367958 h 4367958"/>
              <a:gd name="connsiteX5" fmla="*/ 842342 w 2015614"/>
              <a:gd name="connsiteY5" fmla="*/ 4217572 h 4367958"/>
              <a:gd name="connsiteX6" fmla="*/ 0 w 2015614"/>
              <a:gd name="connsiteY6" fmla="*/ 2183978 h 4367958"/>
              <a:gd name="connsiteX7" fmla="*/ 842342 w 2015614"/>
              <a:gd name="connsiteY7" fmla="*/ 150384 h 4367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15614" h="4367958">
                <a:moveTo>
                  <a:pt x="1007807" y="0"/>
                </a:moveTo>
                <a:lnTo>
                  <a:pt x="1173272" y="150385"/>
                </a:lnTo>
                <a:cubicBezTo>
                  <a:pt x="1693714" y="670827"/>
                  <a:pt x="2015614" y="1389811"/>
                  <a:pt x="2015614" y="2183979"/>
                </a:cubicBezTo>
                <a:cubicBezTo>
                  <a:pt x="2015614" y="2978147"/>
                  <a:pt x="1693714" y="3697131"/>
                  <a:pt x="1173272" y="4217573"/>
                </a:cubicBezTo>
                <a:lnTo>
                  <a:pt x="1007808" y="4367958"/>
                </a:lnTo>
                <a:lnTo>
                  <a:pt x="842342" y="4217572"/>
                </a:lnTo>
                <a:cubicBezTo>
                  <a:pt x="321900" y="3697130"/>
                  <a:pt x="0" y="2978146"/>
                  <a:pt x="0" y="2183978"/>
                </a:cubicBezTo>
                <a:cubicBezTo>
                  <a:pt x="0" y="1389810"/>
                  <a:pt x="321900" y="670826"/>
                  <a:pt x="842342" y="150384"/>
                </a:cubicBezTo>
                <a:close/>
              </a:path>
            </a:pathLst>
          </a:custGeom>
          <a:gradFill>
            <a:gsLst>
              <a:gs pos="31000">
                <a:srgbClr val="09D1AB">
                  <a:alpha val="15000"/>
                </a:srgbClr>
              </a:gs>
              <a:gs pos="100000">
                <a:srgbClr val="6E7DC3">
                  <a:alpha val="5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5" name="任意多边形 64"/>
          <p:cNvSpPr/>
          <p:nvPr/>
        </p:nvSpPr>
        <p:spPr>
          <a:xfrm rot="14062337">
            <a:off x="6684143" y="-499019"/>
            <a:ext cx="473012" cy="939524"/>
          </a:xfrm>
          <a:custGeom>
            <a:avLst/>
            <a:gdLst>
              <a:gd name="connsiteX0" fmla="*/ 1007807 w 2015614"/>
              <a:gd name="connsiteY0" fmla="*/ 0 h 4367958"/>
              <a:gd name="connsiteX1" fmla="*/ 1173272 w 2015614"/>
              <a:gd name="connsiteY1" fmla="*/ 150385 h 4367958"/>
              <a:gd name="connsiteX2" fmla="*/ 2015614 w 2015614"/>
              <a:gd name="connsiteY2" fmla="*/ 2183979 h 4367958"/>
              <a:gd name="connsiteX3" fmla="*/ 1173272 w 2015614"/>
              <a:gd name="connsiteY3" fmla="*/ 4217573 h 4367958"/>
              <a:gd name="connsiteX4" fmla="*/ 1007808 w 2015614"/>
              <a:gd name="connsiteY4" fmla="*/ 4367958 h 4367958"/>
              <a:gd name="connsiteX5" fmla="*/ 842342 w 2015614"/>
              <a:gd name="connsiteY5" fmla="*/ 4217572 h 4367958"/>
              <a:gd name="connsiteX6" fmla="*/ 0 w 2015614"/>
              <a:gd name="connsiteY6" fmla="*/ 2183978 h 4367958"/>
              <a:gd name="connsiteX7" fmla="*/ 842342 w 2015614"/>
              <a:gd name="connsiteY7" fmla="*/ 150384 h 4367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15614" h="4367958">
                <a:moveTo>
                  <a:pt x="1007807" y="0"/>
                </a:moveTo>
                <a:lnTo>
                  <a:pt x="1173272" y="150385"/>
                </a:lnTo>
                <a:cubicBezTo>
                  <a:pt x="1693714" y="670827"/>
                  <a:pt x="2015614" y="1389811"/>
                  <a:pt x="2015614" y="2183979"/>
                </a:cubicBezTo>
                <a:cubicBezTo>
                  <a:pt x="2015614" y="2978147"/>
                  <a:pt x="1693714" y="3697131"/>
                  <a:pt x="1173272" y="4217573"/>
                </a:cubicBezTo>
                <a:lnTo>
                  <a:pt x="1007808" y="4367958"/>
                </a:lnTo>
                <a:lnTo>
                  <a:pt x="842342" y="4217572"/>
                </a:lnTo>
                <a:cubicBezTo>
                  <a:pt x="321900" y="3697130"/>
                  <a:pt x="0" y="2978146"/>
                  <a:pt x="0" y="2183978"/>
                </a:cubicBezTo>
                <a:cubicBezTo>
                  <a:pt x="0" y="1389810"/>
                  <a:pt x="321900" y="670826"/>
                  <a:pt x="842342" y="150384"/>
                </a:cubicBezTo>
                <a:close/>
              </a:path>
            </a:pathLst>
          </a:custGeom>
          <a:gradFill>
            <a:gsLst>
              <a:gs pos="31000">
                <a:srgbClr val="09D1AB">
                  <a:alpha val="15000"/>
                </a:srgbClr>
              </a:gs>
              <a:gs pos="100000">
                <a:srgbClr val="6E7DC3">
                  <a:alpha val="5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01899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/>
            </a:gs>
            <a:gs pos="100000">
              <a:schemeClr val="bg1">
                <a:lumMod val="9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任意多边形 21"/>
          <p:cNvSpPr/>
          <p:nvPr/>
        </p:nvSpPr>
        <p:spPr>
          <a:xfrm rot="13603008">
            <a:off x="8919274" y="-2340289"/>
            <a:ext cx="1463179" cy="3672200"/>
          </a:xfrm>
          <a:custGeom>
            <a:avLst/>
            <a:gdLst>
              <a:gd name="connsiteX0" fmla="*/ 1007807 w 2015614"/>
              <a:gd name="connsiteY0" fmla="*/ 0 h 4367958"/>
              <a:gd name="connsiteX1" fmla="*/ 1173272 w 2015614"/>
              <a:gd name="connsiteY1" fmla="*/ 150385 h 4367958"/>
              <a:gd name="connsiteX2" fmla="*/ 2015614 w 2015614"/>
              <a:gd name="connsiteY2" fmla="*/ 2183979 h 4367958"/>
              <a:gd name="connsiteX3" fmla="*/ 1173272 w 2015614"/>
              <a:gd name="connsiteY3" fmla="*/ 4217573 h 4367958"/>
              <a:gd name="connsiteX4" fmla="*/ 1007808 w 2015614"/>
              <a:gd name="connsiteY4" fmla="*/ 4367958 h 4367958"/>
              <a:gd name="connsiteX5" fmla="*/ 842342 w 2015614"/>
              <a:gd name="connsiteY5" fmla="*/ 4217572 h 4367958"/>
              <a:gd name="connsiteX6" fmla="*/ 0 w 2015614"/>
              <a:gd name="connsiteY6" fmla="*/ 2183978 h 4367958"/>
              <a:gd name="connsiteX7" fmla="*/ 842342 w 2015614"/>
              <a:gd name="connsiteY7" fmla="*/ 150384 h 4367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15614" h="4367958">
                <a:moveTo>
                  <a:pt x="1007807" y="0"/>
                </a:moveTo>
                <a:lnTo>
                  <a:pt x="1173272" y="150385"/>
                </a:lnTo>
                <a:cubicBezTo>
                  <a:pt x="1693714" y="670827"/>
                  <a:pt x="2015614" y="1389811"/>
                  <a:pt x="2015614" y="2183979"/>
                </a:cubicBezTo>
                <a:cubicBezTo>
                  <a:pt x="2015614" y="2978147"/>
                  <a:pt x="1693714" y="3697131"/>
                  <a:pt x="1173272" y="4217573"/>
                </a:cubicBezTo>
                <a:lnTo>
                  <a:pt x="1007808" y="4367958"/>
                </a:lnTo>
                <a:lnTo>
                  <a:pt x="842342" y="4217572"/>
                </a:lnTo>
                <a:cubicBezTo>
                  <a:pt x="321900" y="3697130"/>
                  <a:pt x="0" y="2978146"/>
                  <a:pt x="0" y="2183978"/>
                </a:cubicBezTo>
                <a:cubicBezTo>
                  <a:pt x="0" y="1389810"/>
                  <a:pt x="321900" y="670826"/>
                  <a:pt x="842342" y="150384"/>
                </a:cubicBezTo>
                <a:close/>
              </a:path>
            </a:pathLst>
          </a:custGeom>
          <a:gradFill>
            <a:gsLst>
              <a:gs pos="31000">
                <a:srgbClr val="09D1AB">
                  <a:alpha val="15000"/>
                </a:srgbClr>
              </a:gs>
              <a:gs pos="100000">
                <a:srgbClr val="6E7DC3">
                  <a:alpha val="5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文本框 1"/>
          <p:cNvSpPr txBox="1"/>
          <p:nvPr/>
        </p:nvSpPr>
        <p:spPr>
          <a:xfrm>
            <a:off x="863316" y="243648"/>
            <a:ext cx="50671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技术路线及时间安排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椭圆 6"/>
          <p:cNvSpPr/>
          <p:nvPr/>
        </p:nvSpPr>
        <p:spPr>
          <a:xfrm>
            <a:off x="1291111" y="3046049"/>
            <a:ext cx="1074715" cy="1074715"/>
          </a:xfrm>
          <a:prstGeom prst="ellipse">
            <a:avLst/>
          </a:prstGeom>
          <a:solidFill>
            <a:srgbClr val="D7F5EF"/>
          </a:solidFill>
          <a:ln>
            <a:noFill/>
          </a:ln>
          <a:effectLst>
            <a:outerShdw blurRad="635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椭圆 7"/>
          <p:cNvSpPr/>
          <p:nvPr/>
        </p:nvSpPr>
        <p:spPr>
          <a:xfrm>
            <a:off x="3569852" y="1291772"/>
            <a:ext cx="1234374" cy="1234374"/>
          </a:xfrm>
          <a:prstGeom prst="ellipse">
            <a:avLst/>
          </a:prstGeom>
          <a:solidFill>
            <a:srgbClr val="AEEADF"/>
          </a:solidFill>
          <a:ln>
            <a:noFill/>
          </a:ln>
          <a:effectLst>
            <a:outerShdw blurRad="635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椭圆 8"/>
          <p:cNvSpPr/>
          <p:nvPr/>
        </p:nvSpPr>
        <p:spPr>
          <a:xfrm>
            <a:off x="6212112" y="4424113"/>
            <a:ext cx="1915886" cy="1915886"/>
          </a:xfrm>
          <a:prstGeom prst="ellipse">
            <a:avLst/>
          </a:prstGeom>
          <a:solidFill>
            <a:srgbClr val="96D4CA"/>
          </a:solidFill>
          <a:ln>
            <a:noFill/>
          </a:ln>
          <a:effectLst>
            <a:outerShdw blurRad="635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椭圆 9"/>
          <p:cNvSpPr/>
          <p:nvPr/>
        </p:nvSpPr>
        <p:spPr>
          <a:xfrm rot="20465897">
            <a:off x="9492343" y="3436199"/>
            <a:ext cx="1117600" cy="1117600"/>
          </a:xfrm>
          <a:prstGeom prst="ellipse">
            <a:avLst/>
          </a:prstGeom>
          <a:solidFill>
            <a:srgbClr val="64C0B1"/>
          </a:solidFill>
          <a:ln>
            <a:noFill/>
          </a:ln>
          <a:effectLst>
            <a:outerShdw blurRad="762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2" name="直接连接符 11"/>
          <p:cNvCxnSpPr>
            <a:stCxn id="7" idx="7"/>
            <a:endCxn id="8" idx="3"/>
          </p:cNvCxnSpPr>
          <p:nvPr/>
        </p:nvCxnSpPr>
        <p:spPr>
          <a:xfrm flipV="1">
            <a:off x="2208438" y="2345376"/>
            <a:ext cx="1542184" cy="858061"/>
          </a:xfrm>
          <a:prstGeom prst="line">
            <a:avLst/>
          </a:prstGeom>
          <a:ln w="38100">
            <a:solidFill>
              <a:srgbClr val="D7F5E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/>
          <p:cNvCxnSpPr>
            <a:stCxn id="8" idx="5"/>
            <a:endCxn id="9" idx="1"/>
          </p:cNvCxnSpPr>
          <p:nvPr/>
        </p:nvCxnSpPr>
        <p:spPr>
          <a:xfrm>
            <a:off x="4623456" y="2345376"/>
            <a:ext cx="1869231" cy="2359312"/>
          </a:xfrm>
          <a:prstGeom prst="line">
            <a:avLst/>
          </a:prstGeom>
          <a:ln w="38100">
            <a:solidFill>
              <a:srgbClr val="CEEC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>
            <a:stCxn id="9" idx="7"/>
            <a:endCxn id="10" idx="2"/>
          </p:cNvCxnSpPr>
          <p:nvPr/>
        </p:nvCxnSpPr>
        <p:spPr>
          <a:xfrm flipV="1">
            <a:off x="7847423" y="4176020"/>
            <a:ext cx="1675053" cy="528668"/>
          </a:xfrm>
          <a:prstGeom prst="line">
            <a:avLst/>
          </a:prstGeom>
          <a:ln w="38100">
            <a:solidFill>
              <a:srgbClr val="C3E1E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圆角矩形标注 20"/>
          <p:cNvSpPr/>
          <p:nvPr/>
        </p:nvSpPr>
        <p:spPr>
          <a:xfrm>
            <a:off x="6298258" y="1425971"/>
            <a:ext cx="2487829" cy="2569028"/>
          </a:xfrm>
          <a:prstGeom prst="wedgeRoundRectCallout">
            <a:avLst/>
          </a:prstGeom>
          <a:solidFill>
            <a:srgbClr val="96D4CA"/>
          </a:solidFill>
          <a:ln>
            <a:noFill/>
          </a:ln>
          <a:effectLst>
            <a:outerShdw blurRad="76200" dist="38100" dir="2700000" sx="99000" sy="99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任意多边形 24"/>
          <p:cNvSpPr/>
          <p:nvPr/>
        </p:nvSpPr>
        <p:spPr>
          <a:xfrm rot="18557003">
            <a:off x="8800042" y="5188243"/>
            <a:ext cx="1921863" cy="3672200"/>
          </a:xfrm>
          <a:custGeom>
            <a:avLst/>
            <a:gdLst>
              <a:gd name="connsiteX0" fmla="*/ 1007807 w 2015614"/>
              <a:gd name="connsiteY0" fmla="*/ 0 h 4367958"/>
              <a:gd name="connsiteX1" fmla="*/ 1173272 w 2015614"/>
              <a:gd name="connsiteY1" fmla="*/ 150385 h 4367958"/>
              <a:gd name="connsiteX2" fmla="*/ 2015614 w 2015614"/>
              <a:gd name="connsiteY2" fmla="*/ 2183979 h 4367958"/>
              <a:gd name="connsiteX3" fmla="*/ 1173272 w 2015614"/>
              <a:gd name="connsiteY3" fmla="*/ 4217573 h 4367958"/>
              <a:gd name="connsiteX4" fmla="*/ 1007808 w 2015614"/>
              <a:gd name="connsiteY4" fmla="*/ 4367958 h 4367958"/>
              <a:gd name="connsiteX5" fmla="*/ 842342 w 2015614"/>
              <a:gd name="connsiteY5" fmla="*/ 4217572 h 4367958"/>
              <a:gd name="connsiteX6" fmla="*/ 0 w 2015614"/>
              <a:gd name="connsiteY6" fmla="*/ 2183978 h 4367958"/>
              <a:gd name="connsiteX7" fmla="*/ 842342 w 2015614"/>
              <a:gd name="connsiteY7" fmla="*/ 150384 h 4367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15614" h="4367958">
                <a:moveTo>
                  <a:pt x="1007807" y="0"/>
                </a:moveTo>
                <a:lnTo>
                  <a:pt x="1173272" y="150385"/>
                </a:lnTo>
                <a:cubicBezTo>
                  <a:pt x="1693714" y="670827"/>
                  <a:pt x="2015614" y="1389811"/>
                  <a:pt x="2015614" y="2183979"/>
                </a:cubicBezTo>
                <a:cubicBezTo>
                  <a:pt x="2015614" y="2978147"/>
                  <a:pt x="1693714" y="3697131"/>
                  <a:pt x="1173272" y="4217573"/>
                </a:cubicBezTo>
                <a:lnTo>
                  <a:pt x="1007808" y="4367958"/>
                </a:lnTo>
                <a:lnTo>
                  <a:pt x="842342" y="4217572"/>
                </a:lnTo>
                <a:cubicBezTo>
                  <a:pt x="321900" y="3697130"/>
                  <a:pt x="0" y="2978146"/>
                  <a:pt x="0" y="2183978"/>
                </a:cubicBezTo>
                <a:cubicBezTo>
                  <a:pt x="0" y="1389810"/>
                  <a:pt x="321900" y="670826"/>
                  <a:pt x="842342" y="150384"/>
                </a:cubicBezTo>
                <a:close/>
              </a:path>
            </a:pathLst>
          </a:custGeom>
          <a:gradFill>
            <a:gsLst>
              <a:gs pos="31000">
                <a:srgbClr val="09D1AB">
                  <a:alpha val="15000"/>
                </a:srgbClr>
              </a:gs>
              <a:gs pos="100000">
                <a:srgbClr val="6E7DC3">
                  <a:alpha val="5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文本框 25"/>
          <p:cNvSpPr txBox="1"/>
          <p:nvPr/>
        </p:nvSpPr>
        <p:spPr>
          <a:xfrm>
            <a:off x="6395864" y="1767524"/>
            <a:ext cx="2293401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600" b="1" dirty="0" smtClean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2016.01—2016.05</a:t>
            </a:r>
          </a:p>
          <a:p>
            <a:r>
              <a:rPr lang="zh-CN" altLang="en-US" sz="1600" b="1" dirty="0" smtClean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从</a:t>
            </a:r>
            <a:r>
              <a:rPr lang="en-US" altLang="zh-CN" sz="1600" b="1" dirty="0" err="1" smtClean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lwip</a:t>
            </a:r>
            <a:r>
              <a:rPr lang="zh-CN" altLang="en-US" sz="1600" b="1" dirty="0" smtClean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移植入手，熟悉网络协议后过度到</a:t>
            </a:r>
            <a:r>
              <a:rPr lang="en-US" altLang="zh-CN" sz="1600" b="1" dirty="0" smtClean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profinet</a:t>
            </a:r>
            <a:r>
              <a:rPr lang="zh-CN" altLang="en-US" sz="1600" b="1" dirty="0" smtClean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协议的移植，期间需要根据协议对</a:t>
            </a:r>
            <a:r>
              <a:rPr lang="en-US" altLang="zh-CN" sz="1600" b="1" dirty="0" err="1" smtClean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eCos</a:t>
            </a:r>
            <a:r>
              <a:rPr lang="zh-CN" altLang="en-US" sz="1600" b="1" dirty="0" smtClean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进行相关配置，修改协议源码等。</a:t>
            </a:r>
            <a:endParaRPr lang="zh-CN" altLang="en-US" sz="1600" b="1" dirty="0">
              <a:solidFill>
                <a:schemeClr val="bg1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27" name="圆角矩形标注 26"/>
          <p:cNvSpPr/>
          <p:nvPr/>
        </p:nvSpPr>
        <p:spPr>
          <a:xfrm>
            <a:off x="9459607" y="954941"/>
            <a:ext cx="2176737" cy="2087046"/>
          </a:xfrm>
          <a:prstGeom prst="wedgeRoundRectCallout">
            <a:avLst/>
          </a:prstGeom>
          <a:solidFill>
            <a:srgbClr val="64C0B1"/>
          </a:solidFill>
          <a:ln>
            <a:noFill/>
          </a:ln>
          <a:effectLst>
            <a:outerShdw blurRad="762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文本框 27"/>
          <p:cNvSpPr txBox="1"/>
          <p:nvPr/>
        </p:nvSpPr>
        <p:spPr>
          <a:xfrm>
            <a:off x="9543236" y="1204746"/>
            <a:ext cx="200947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600" b="1" dirty="0" smtClean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2016.05</a:t>
            </a:r>
          </a:p>
          <a:p>
            <a:r>
              <a:rPr lang="zh-CN" altLang="en-US" sz="1600" b="1" dirty="0" smtClean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连接</a:t>
            </a:r>
            <a:r>
              <a:rPr lang="en-US" altLang="zh-CN" sz="1600" b="1" dirty="0" smtClean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PLC</a:t>
            </a:r>
            <a:r>
              <a:rPr lang="zh-CN" altLang="en-US" sz="1600" b="1" dirty="0" smtClean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调试，编写简单的控制程序，使</a:t>
            </a:r>
            <a:r>
              <a:rPr lang="en-US" altLang="zh-CN" sz="1600" b="1" dirty="0" smtClean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PLC</a:t>
            </a:r>
            <a:r>
              <a:rPr lang="zh-CN" altLang="en-US" sz="1600" b="1" dirty="0" smtClean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通过</a:t>
            </a:r>
            <a:r>
              <a:rPr lang="en-US" altLang="zh-CN" sz="1600" b="1" dirty="0" smtClean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profinet</a:t>
            </a:r>
            <a:r>
              <a:rPr lang="zh-CN" altLang="en-US" sz="1600" b="1" dirty="0" smtClean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控制单片机。</a:t>
            </a:r>
            <a:endParaRPr lang="zh-CN" altLang="en-US" sz="1600" b="1" dirty="0">
              <a:solidFill>
                <a:schemeClr val="bg1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29" name="圆角矩形标注 28"/>
          <p:cNvSpPr/>
          <p:nvPr/>
        </p:nvSpPr>
        <p:spPr>
          <a:xfrm rot="10800000">
            <a:off x="413570" y="4480053"/>
            <a:ext cx="2019849" cy="2005130"/>
          </a:xfrm>
          <a:prstGeom prst="wedgeRoundRectCallout">
            <a:avLst/>
          </a:prstGeom>
          <a:solidFill>
            <a:srgbClr val="D7F5EF"/>
          </a:solidFill>
          <a:ln>
            <a:noFill/>
          </a:ln>
          <a:effectLst>
            <a:outerShdw blurRad="76200" dist="38100" dir="2700000" sx="99000" sy="99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圆角矩形标注 29"/>
          <p:cNvSpPr/>
          <p:nvPr/>
        </p:nvSpPr>
        <p:spPr>
          <a:xfrm rot="10800000">
            <a:off x="2877358" y="2934234"/>
            <a:ext cx="2066163" cy="2348305"/>
          </a:xfrm>
          <a:prstGeom prst="wedgeRoundRectCallout">
            <a:avLst/>
          </a:prstGeom>
          <a:solidFill>
            <a:srgbClr val="AEEADF"/>
          </a:solidFill>
          <a:ln>
            <a:noFill/>
          </a:ln>
          <a:effectLst>
            <a:outerShdw blurRad="76200" dist="38100" dir="2700000" sx="99000" sy="99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33" name="组合 32"/>
          <p:cNvGrpSpPr/>
          <p:nvPr/>
        </p:nvGrpSpPr>
        <p:grpSpPr>
          <a:xfrm rot="12277056">
            <a:off x="3703342" y="6255999"/>
            <a:ext cx="1238846" cy="1204002"/>
            <a:chOff x="6559582" y="-631902"/>
            <a:chExt cx="1238846" cy="1204002"/>
          </a:xfrm>
        </p:grpSpPr>
        <p:sp>
          <p:nvSpPr>
            <p:cNvPr id="31" name="任意多边形 30"/>
            <p:cNvSpPr/>
            <p:nvPr/>
          </p:nvSpPr>
          <p:spPr>
            <a:xfrm rot="11940577">
              <a:off x="6559582" y="-631902"/>
              <a:ext cx="479732" cy="1204002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31000">
                  <a:srgbClr val="09D1AB">
                    <a:alpha val="15000"/>
                  </a:srgbClr>
                </a:gs>
                <a:gs pos="100000">
                  <a:srgbClr val="6E7DC3">
                    <a:alpha val="50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2" name="任意多边形 31"/>
            <p:cNvSpPr/>
            <p:nvPr/>
          </p:nvSpPr>
          <p:spPr>
            <a:xfrm rot="7873659">
              <a:off x="6956561" y="-466054"/>
              <a:ext cx="479732" cy="1204002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31000">
                  <a:srgbClr val="09D1AB">
                    <a:alpha val="15000"/>
                  </a:srgbClr>
                </a:gs>
                <a:gs pos="100000">
                  <a:srgbClr val="6E7DC3">
                    <a:alpha val="50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5" name="文本框 34"/>
          <p:cNvSpPr txBox="1"/>
          <p:nvPr/>
        </p:nvSpPr>
        <p:spPr>
          <a:xfrm>
            <a:off x="2963438" y="3136520"/>
            <a:ext cx="190477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600" b="1" dirty="0" smtClean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2015.12 --2016.01</a:t>
            </a:r>
          </a:p>
          <a:p>
            <a:r>
              <a:rPr lang="zh-CN" altLang="en-US" sz="1600" b="1" dirty="0" smtClean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搭建</a:t>
            </a:r>
            <a:r>
              <a:rPr lang="en-US" altLang="zh-CN" sz="1600" b="1" dirty="0" err="1" smtClean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eCos</a:t>
            </a:r>
            <a:r>
              <a:rPr lang="zh-CN" altLang="en-US" sz="1600" b="1" dirty="0" smtClean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的交叉编译环境，依次在</a:t>
            </a:r>
            <a:r>
              <a:rPr lang="en-US" altLang="zh-CN" sz="1600" b="1" dirty="0" smtClean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103,407,429</a:t>
            </a:r>
            <a:r>
              <a:rPr lang="zh-CN" altLang="en-US" sz="1600" b="1" dirty="0" smtClean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处理器上移植，</a:t>
            </a:r>
            <a:r>
              <a:rPr lang="zh-CN" altLang="en-US" sz="1600" b="1" dirty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逐步</a:t>
            </a:r>
            <a:r>
              <a:rPr lang="zh-CN" altLang="en-US" sz="1600" b="1" dirty="0" smtClean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深入。</a:t>
            </a:r>
            <a:endParaRPr lang="zh-CN" altLang="en-US" sz="1600" b="1" dirty="0"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36" name="文本框 35"/>
          <p:cNvSpPr txBox="1"/>
          <p:nvPr/>
        </p:nvSpPr>
        <p:spPr>
          <a:xfrm>
            <a:off x="413571" y="4675404"/>
            <a:ext cx="200604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500" b="1" dirty="0" smtClean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2015.11--2015.12</a:t>
            </a:r>
          </a:p>
          <a:p>
            <a:r>
              <a:rPr lang="zh-CN" altLang="en-US" sz="1500" b="1" dirty="0" smtClean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从单片机</a:t>
            </a:r>
            <a:r>
              <a:rPr lang="en-US" altLang="zh-CN" sz="1500" b="1" dirty="0" smtClean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‘</a:t>
            </a:r>
            <a:r>
              <a:rPr lang="zh-CN" altLang="en-US" sz="1500" b="1" dirty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裸奔</a:t>
            </a:r>
            <a:r>
              <a:rPr lang="en-US" altLang="zh-CN" sz="1500" b="1" dirty="0" smtClean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’</a:t>
            </a:r>
            <a:r>
              <a:rPr lang="zh-CN" altLang="en-US" sz="1500" b="1" dirty="0" smtClean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程序开始学习嵌入式开发基础知识，了解基本外设，学习交叉编译。</a:t>
            </a:r>
            <a:endParaRPr lang="zh-CN" altLang="en-US" sz="1500" b="1" dirty="0"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44" name="文本框 15"/>
          <p:cNvSpPr txBox="1"/>
          <p:nvPr/>
        </p:nvSpPr>
        <p:spPr>
          <a:xfrm>
            <a:off x="1462606" y="3248241"/>
            <a:ext cx="71355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b="1" dirty="0"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嵌入式</a:t>
            </a:r>
          </a:p>
        </p:txBody>
      </p:sp>
      <p:sp>
        <p:nvSpPr>
          <p:cNvPr id="45" name="文本框 15"/>
          <p:cNvSpPr txBox="1"/>
          <p:nvPr/>
        </p:nvSpPr>
        <p:spPr>
          <a:xfrm>
            <a:off x="3696833" y="1544309"/>
            <a:ext cx="101307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2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eCos</a:t>
            </a:r>
            <a:r>
              <a:rPr lang="zh-CN" altLang="en-US" sz="2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移植</a:t>
            </a:r>
          </a:p>
        </p:txBody>
      </p:sp>
      <p:sp>
        <p:nvSpPr>
          <p:cNvPr id="46" name="文本框 19"/>
          <p:cNvSpPr txBox="1"/>
          <p:nvPr/>
        </p:nvSpPr>
        <p:spPr>
          <a:xfrm>
            <a:off x="6265004" y="4908136"/>
            <a:ext cx="184885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b="1" dirty="0" smtClean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Profinet</a:t>
            </a:r>
            <a:r>
              <a:rPr lang="zh-CN" altLang="en-US" sz="3200" b="1" dirty="0" smtClean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移植</a:t>
            </a:r>
            <a:endParaRPr lang="zh-CN" altLang="en-US" sz="3200" b="1" dirty="0">
              <a:solidFill>
                <a:schemeClr val="bg1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sp>
        <p:nvSpPr>
          <p:cNvPr id="47" name="文本框 21"/>
          <p:cNvSpPr txBox="1"/>
          <p:nvPr/>
        </p:nvSpPr>
        <p:spPr>
          <a:xfrm>
            <a:off x="9479444" y="3756401"/>
            <a:ext cx="11445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dirty="0" smtClean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PLC</a:t>
            </a:r>
            <a:endParaRPr lang="zh-CN" altLang="en-US" sz="2800" b="1" dirty="0">
              <a:solidFill>
                <a:schemeClr val="bg1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  <p:grpSp>
        <p:nvGrpSpPr>
          <p:cNvPr id="48" name="组合 47"/>
          <p:cNvGrpSpPr/>
          <p:nvPr/>
        </p:nvGrpSpPr>
        <p:grpSpPr>
          <a:xfrm>
            <a:off x="183769" y="234926"/>
            <a:ext cx="679547" cy="531942"/>
            <a:chOff x="491004" y="4154674"/>
            <a:chExt cx="945409" cy="740056"/>
          </a:xfrm>
        </p:grpSpPr>
        <p:grpSp>
          <p:nvGrpSpPr>
            <p:cNvPr id="49" name="组合 48"/>
            <p:cNvGrpSpPr/>
            <p:nvPr/>
          </p:nvGrpSpPr>
          <p:grpSpPr>
            <a:xfrm>
              <a:off x="491004" y="4154674"/>
              <a:ext cx="945409" cy="629359"/>
              <a:chOff x="427929" y="2964755"/>
              <a:chExt cx="945409" cy="629359"/>
            </a:xfrm>
          </p:grpSpPr>
          <p:sp>
            <p:nvSpPr>
              <p:cNvPr id="51" name="任意多边形 50"/>
              <p:cNvSpPr/>
              <p:nvPr/>
            </p:nvSpPr>
            <p:spPr>
              <a:xfrm rot="18453518">
                <a:off x="712286" y="2680398"/>
                <a:ext cx="376696" cy="945409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31000">
                    <a:srgbClr val="09D1AB">
                      <a:alpha val="15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2" name="任意多边形 51"/>
              <p:cNvSpPr/>
              <p:nvPr/>
            </p:nvSpPr>
            <p:spPr>
              <a:xfrm rot="16200000">
                <a:off x="719645" y="3042462"/>
                <a:ext cx="314355" cy="788949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31000">
                    <a:srgbClr val="09D1AB">
                      <a:alpha val="15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50" name="任意多边形 49"/>
            <p:cNvSpPr/>
            <p:nvPr/>
          </p:nvSpPr>
          <p:spPr>
            <a:xfrm rot="14363807">
              <a:off x="970960" y="4493742"/>
              <a:ext cx="228500" cy="573475"/>
            </a:xfrm>
            <a:custGeom>
              <a:avLst/>
              <a:gdLst>
                <a:gd name="connsiteX0" fmla="*/ 1007807 w 2015614"/>
                <a:gd name="connsiteY0" fmla="*/ 0 h 4367958"/>
                <a:gd name="connsiteX1" fmla="*/ 1173272 w 2015614"/>
                <a:gd name="connsiteY1" fmla="*/ 150385 h 4367958"/>
                <a:gd name="connsiteX2" fmla="*/ 2015614 w 2015614"/>
                <a:gd name="connsiteY2" fmla="*/ 2183979 h 4367958"/>
                <a:gd name="connsiteX3" fmla="*/ 1173272 w 2015614"/>
                <a:gd name="connsiteY3" fmla="*/ 4217573 h 4367958"/>
                <a:gd name="connsiteX4" fmla="*/ 1007808 w 2015614"/>
                <a:gd name="connsiteY4" fmla="*/ 4367958 h 4367958"/>
                <a:gd name="connsiteX5" fmla="*/ 842342 w 2015614"/>
                <a:gd name="connsiteY5" fmla="*/ 4217572 h 4367958"/>
                <a:gd name="connsiteX6" fmla="*/ 0 w 2015614"/>
                <a:gd name="connsiteY6" fmla="*/ 2183978 h 4367958"/>
                <a:gd name="connsiteX7" fmla="*/ 842342 w 2015614"/>
                <a:gd name="connsiteY7" fmla="*/ 150384 h 436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614" h="4367958">
                  <a:moveTo>
                    <a:pt x="1007807" y="0"/>
                  </a:moveTo>
                  <a:lnTo>
                    <a:pt x="1173272" y="150385"/>
                  </a:lnTo>
                  <a:cubicBezTo>
                    <a:pt x="1693714" y="670827"/>
                    <a:pt x="2015614" y="1389811"/>
                    <a:pt x="2015614" y="2183979"/>
                  </a:cubicBezTo>
                  <a:cubicBezTo>
                    <a:pt x="2015614" y="2978147"/>
                    <a:pt x="1693714" y="3697131"/>
                    <a:pt x="1173272" y="4217573"/>
                  </a:cubicBezTo>
                  <a:lnTo>
                    <a:pt x="1007808" y="4367958"/>
                  </a:lnTo>
                  <a:lnTo>
                    <a:pt x="842342" y="4217572"/>
                  </a:lnTo>
                  <a:cubicBezTo>
                    <a:pt x="321900" y="3697130"/>
                    <a:pt x="0" y="2978146"/>
                    <a:pt x="0" y="2183978"/>
                  </a:cubicBezTo>
                  <a:cubicBezTo>
                    <a:pt x="0" y="1389810"/>
                    <a:pt x="321900" y="670826"/>
                    <a:pt x="842342" y="150384"/>
                  </a:cubicBezTo>
                  <a:close/>
                </a:path>
              </a:pathLst>
            </a:custGeom>
            <a:gradFill>
              <a:gsLst>
                <a:gs pos="31000">
                  <a:srgbClr val="09D1AB">
                    <a:alpha val="15000"/>
                  </a:srgbClr>
                </a:gs>
                <a:gs pos="100000">
                  <a:srgbClr val="6E7DC3">
                    <a:alpha val="50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586311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组合 43"/>
          <p:cNvGrpSpPr/>
          <p:nvPr/>
        </p:nvGrpSpPr>
        <p:grpSpPr>
          <a:xfrm rot="10800000">
            <a:off x="-5323040" y="-2361827"/>
            <a:ext cx="22838079" cy="13375101"/>
            <a:chOff x="-5343060" y="-3962027"/>
            <a:chExt cx="22838079" cy="13375101"/>
          </a:xfrm>
        </p:grpSpPr>
        <p:grpSp>
          <p:nvGrpSpPr>
            <p:cNvPr id="2" name="花1"/>
            <p:cNvGrpSpPr/>
            <p:nvPr/>
          </p:nvGrpSpPr>
          <p:grpSpPr>
            <a:xfrm>
              <a:off x="1859121" y="3546988"/>
              <a:ext cx="8526317" cy="4848472"/>
              <a:chOff x="1859121" y="3429000"/>
              <a:chExt cx="8526317" cy="4848472"/>
            </a:xfrm>
          </p:grpSpPr>
          <p:sp>
            <p:nvSpPr>
              <p:cNvPr id="3" name="任意多边形 2"/>
              <p:cNvSpPr/>
              <p:nvPr/>
            </p:nvSpPr>
            <p:spPr>
              <a:xfrm>
                <a:off x="5088193" y="3429000"/>
                <a:ext cx="2015614" cy="4367958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56600">
                    <a:srgbClr val="ADB5DD">
                      <a:alpha val="35000"/>
                    </a:srgbClr>
                  </a:gs>
                  <a:gs pos="0">
                    <a:srgbClr val="C1FFEF">
                      <a:alpha val="49804"/>
                    </a:srgbClr>
                  </a:gs>
                  <a:gs pos="100000">
                    <a:srgbClr val="6E7DC3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" name="任意多边形 3"/>
              <p:cNvSpPr/>
              <p:nvPr/>
            </p:nvSpPr>
            <p:spPr>
              <a:xfrm rot="19862953">
                <a:off x="4038181" y="3686122"/>
                <a:ext cx="2015614" cy="4367958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56600">
                    <a:srgbClr val="ADB5DD">
                      <a:alpha val="35000"/>
                    </a:srgbClr>
                  </a:gs>
                  <a:gs pos="0">
                    <a:srgbClr val="C1FFEF">
                      <a:alpha val="49804"/>
                    </a:srgbClr>
                  </a:gs>
                  <a:gs pos="100000">
                    <a:srgbClr val="6E7DC3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" name="任意多边形 4"/>
              <p:cNvSpPr/>
              <p:nvPr/>
            </p:nvSpPr>
            <p:spPr>
              <a:xfrm rot="1791145">
                <a:off x="6081931" y="3648293"/>
                <a:ext cx="2015614" cy="4367958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56600">
                    <a:srgbClr val="ADB5DD">
                      <a:alpha val="35000"/>
                    </a:srgbClr>
                  </a:gs>
                  <a:gs pos="0">
                    <a:srgbClr val="C1FFEF">
                      <a:alpha val="49804"/>
                    </a:srgbClr>
                  </a:gs>
                  <a:gs pos="100000">
                    <a:srgbClr val="6E7DC3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" name="任意多边形 5"/>
              <p:cNvSpPr/>
              <p:nvPr/>
            </p:nvSpPr>
            <p:spPr>
              <a:xfrm rot="3361456">
                <a:off x="6916490" y="4377466"/>
                <a:ext cx="2015614" cy="4367958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56600">
                    <a:srgbClr val="ADB5DD">
                      <a:alpha val="35000"/>
                    </a:srgbClr>
                  </a:gs>
                  <a:gs pos="0">
                    <a:srgbClr val="C1FFEF">
                      <a:alpha val="49804"/>
                    </a:srgbClr>
                  </a:gs>
                  <a:gs pos="100000">
                    <a:srgbClr val="6E7DC3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" name="任意多边形 6"/>
              <p:cNvSpPr/>
              <p:nvPr/>
            </p:nvSpPr>
            <p:spPr>
              <a:xfrm rot="18029728">
                <a:off x="3346961" y="4377776"/>
                <a:ext cx="2015614" cy="4367958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56600">
                    <a:srgbClr val="ADB5DD">
                      <a:alpha val="35000"/>
                    </a:srgbClr>
                  </a:gs>
                  <a:gs pos="0">
                    <a:srgbClr val="C1FFEF">
                      <a:alpha val="49804"/>
                    </a:srgbClr>
                  </a:gs>
                  <a:gs pos="100000">
                    <a:srgbClr val="6E7DC3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" name="任意多边形 7"/>
              <p:cNvSpPr/>
              <p:nvPr/>
            </p:nvSpPr>
            <p:spPr>
              <a:xfrm rot="4636883">
                <a:off x="7193652" y="5085686"/>
                <a:ext cx="2015614" cy="4367958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56600">
                    <a:srgbClr val="ADB5DD">
                      <a:alpha val="35000"/>
                    </a:srgbClr>
                  </a:gs>
                  <a:gs pos="0">
                    <a:srgbClr val="C1FFEF">
                      <a:alpha val="49804"/>
                    </a:srgbClr>
                  </a:gs>
                  <a:gs pos="100000">
                    <a:srgbClr val="6E7DC3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" name="任意多边形 8"/>
              <p:cNvSpPr/>
              <p:nvPr/>
            </p:nvSpPr>
            <p:spPr>
              <a:xfrm rot="16978576">
                <a:off x="3035293" y="5077119"/>
                <a:ext cx="2015614" cy="4367958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56600">
                    <a:srgbClr val="ADB5DD">
                      <a:alpha val="35000"/>
                    </a:srgbClr>
                  </a:gs>
                  <a:gs pos="0">
                    <a:srgbClr val="C1FFEF">
                      <a:alpha val="49804"/>
                    </a:srgbClr>
                  </a:gs>
                  <a:gs pos="100000">
                    <a:srgbClr val="6E7DC3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0" name="花2"/>
            <p:cNvGrpSpPr/>
            <p:nvPr/>
          </p:nvGrpSpPr>
          <p:grpSpPr>
            <a:xfrm>
              <a:off x="-389727" y="1491439"/>
              <a:ext cx="12996258" cy="7478907"/>
              <a:chOff x="-389727" y="1373451"/>
              <a:chExt cx="12996258" cy="7478907"/>
            </a:xfrm>
          </p:grpSpPr>
          <p:sp>
            <p:nvSpPr>
              <p:cNvPr id="11" name="任意多边形 10"/>
              <p:cNvSpPr/>
              <p:nvPr/>
            </p:nvSpPr>
            <p:spPr>
              <a:xfrm rot="20738027">
                <a:off x="4131678" y="1398019"/>
                <a:ext cx="2319644" cy="6516445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77000">
                    <a:srgbClr val="9FB7DD">
                      <a:alpha val="20000"/>
                    </a:srgbClr>
                  </a:gs>
                  <a:gs pos="0">
                    <a:srgbClr val="A1DBB3">
                      <a:alpha val="50000"/>
                    </a:srgbClr>
                  </a:gs>
                  <a:gs pos="100000">
                    <a:srgbClr val="6E7DC3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任意多边形 11"/>
              <p:cNvSpPr/>
              <p:nvPr/>
            </p:nvSpPr>
            <p:spPr>
              <a:xfrm rot="852536">
                <a:off x="5736820" y="1373451"/>
                <a:ext cx="2319644" cy="6516445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77000">
                    <a:srgbClr val="9FB7DD">
                      <a:alpha val="20000"/>
                    </a:srgbClr>
                  </a:gs>
                  <a:gs pos="0">
                    <a:srgbClr val="A1DBB3">
                      <a:alpha val="50000"/>
                    </a:srgbClr>
                  </a:gs>
                  <a:gs pos="100000">
                    <a:srgbClr val="6E7DC3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" name="任意多边形 12"/>
              <p:cNvSpPr/>
              <p:nvPr/>
            </p:nvSpPr>
            <p:spPr>
              <a:xfrm rot="2517796">
                <a:off x="7178662" y="2080056"/>
                <a:ext cx="2319644" cy="6516445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53000">
                    <a:srgbClr val="86A4D4">
                      <a:alpha val="20000"/>
                    </a:srgbClr>
                  </a:gs>
                  <a:gs pos="0">
                    <a:srgbClr val="85D19D">
                      <a:alpha val="60000"/>
                    </a:srgbClr>
                  </a:gs>
                  <a:gs pos="100000">
                    <a:srgbClr val="8E7DCB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" name="任意多边形 13"/>
              <p:cNvSpPr/>
              <p:nvPr/>
            </p:nvSpPr>
            <p:spPr>
              <a:xfrm rot="19054139">
                <a:off x="2747823" y="2122596"/>
                <a:ext cx="2319644" cy="6516445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53000">
                    <a:srgbClr val="86A4D4">
                      <a:alpha val="20000"/>
                    </a:srgbClr>
                  </a:gs>
                  <a:gs pos="0">
                    <a:srgbClr val="85D19D">
                      <a:alpha val="60000"/>
                    </a:srgbClr>
                  </a:gs>
                  <a:gs pos="100000">
                    <a:srgbClr val="8E7DCB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任意多边形 14"/>
              <p:cNvSpPr/>
              <p:nvPr/>
            </p:nvSpPr>
            <p:spPr>
              <a:xfrm rot="17559371">
                <a:off x="1848075" y="3501639"/>
                <a:ext cx="2319644" cy="6516445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0">
                    <a:srgbClr val="809ECE">
                      <a:alpha val="50000"/>
                    </a:srgbClr>
                  </a:gs>
                  <a:gs pos="100000">
                    <a:srgbClr val="8E7ECC">
                      <a:alpha val="2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6" name="任意多边形 15"/>
              <p:cNvSpPr/>
              <p:nvPr/>
            </p:nvSpPr>
            <p:spPr>
              <a:xfrm rot="4135283">
                <a:off x="8014973" y="3462129"/>
                <a:ext cx="2319644" cy="6516445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0">
                    <a:srgbClr val="809ECE">
                      <a:alpha val="50000"/>
                    </a:srgbClr>
                  </a:gs>
                  <a:gs pos="100000">
                    <a:srgbClr val="8E7ECC">
                      <a:alpha val="2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" name="任意多边形 16"/>
              <p:cNvSpPr/>
              <p:nvPr/>
            </p:nvSpPr>
            <p:spPr>
              <a:xfrm rot="5400000">
                <a:off x="8188487" y="4434313"/>
                <a:ext cx="2319644" cy="6516445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7100">
                    <a:srgbClr val="9EB3DC">
                      <a:alpha val="20000"/>
                    </a:srgbClr>
                  </a:gs>
                  <a:gs pos="100000">
                    <a:srgbClr val="8E7BCB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任意多边形 17"/>
              <p:cNvSpPr/>
              <p:nvPr/>
            </p:nvSpPr>
            <p:spPr>
              <a:xfrm rot="16372431">
                <a:off x="1708674" y="4330668"/>
                <a:ext cx="2319644" cy="6516445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10600">
                    <a:srgbClr val="9DB0DB">
                      <a:alpha val="20000"/>
                    </a:srgbClr>
                  </a:gs>
                  <a:gs pos="100000">
                    <a:srgbClr val="8D75C9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9" name="花3"/>
            <p:cNvGrpSpPr/>
            <p:nvPr/>
          </p:nvGrpSpPr>
          <p:grpSpPr>
            <a:xfrm>
              <a:off x="-3145042" y="-1414243"/>
              <a:ext cx="18624069" cy="10634847"/>
              <a:chOff x="-3145042" y="-1532231"/>
              <a:chExt cx="18624069" cy="10634847"/>
            </a:xfrm>
          </p:grpSpPr>
          <p:sp>
            <p:nvSpPr>
              <p:cNvPr id="20" name="任意多边形 19"/>
              <p:cNvSpPr/>
              <p:nvPr/>
            </p:nvSpPr>
            <p:spPr>
              <a:xfrm rot="1690499">
                <a:off x="6526961" y="-940137"/>
                <a:ext cx="3551344" cy="927991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47000">
                    <a:srgbClr val="50BBD4">
                      <a:alpha val="30000"/>
                    </a:srgbClr>
                  </a:gs>
                  <a:gs pos="0">
                    <a:srgbClr val="75FFBA">
                      <a:alpha val="20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任意多边形 20"/>
              <p:cNvSpPr/>
              <p:nvPr/>
            </p:nvSpPr>
            <p:spPr>
              <a:xfrm>
                <a:off x="4339025" y="-1532231"/>
                <a:ext cx="3551344" cy="927991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47000">
                    <a:srgbClr val="52CAB3">
                      <a:alpha val="20000"/>
                    </a:srgbClr>
                  </a:gs>
                  <a:gs pos="0">
                    <a:srgbClr val="75FFBA">
                      <a:alpha val="20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2" name="任意多边形 21"/>
              <p:cNvSpPr/>
              <p:nvPr/>
            </p:nvSpPr>
            <p:spPr>
              <a:xfrm rot="19892438">
                <a:off x="2131972" y="-936972"/>
                <a:ext cx="3551344" cy="927991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47000">
                    <a:srgbClr val="50BBD4">
                      <a:alpha val="30000"/>
                    </a:srgbClr>
                  </a:gs>
                  <a:gs pos="0">
                    <a:srgbClr val="75FFBA">
                      <a:alpha val="20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3" name="任意多边形 22"/>
              <p:cNvSpPr/>
              <p:nvPr/>
            </p:nvSpPr>
            <p:spPr>
              <a:xfrm rot="3302765">
                <a:off x="8173152" y="550986"/>
                <a:ext cx="3551344" cy="927991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47000">
                    <a:srgbClr val="229DD4">
                      <a:alpha val="29804"/>
                    </a:srgbClr>
                  </a:gs>
                  <a:gs pos="0">
                    <a:srgbClr val="75FFBA">
                      <a:alpha val="10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任意多边形 23"/>
              <p:cNvSpPr/>
              <p:nvPr/>
            </p:nvSpPr>
            <p:spPr>
              <a:xfrm rot="18136260">
                <a:off x="672304" y="621968"/>
                <a:ext cx="3551344" cy="927991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47000">
                    <a:srgbClr val="229DD4">
                      <a:alpha val="29804"/>
                    </a:srgbClr>
                  </a:gs>
                  <a:gs pos="0">
                    <a:srgbClr val="75FFBA">
                      <a:alpha val="10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5" name="任意多边形 24"/>
              <p:cNvSpPr/>
              <p:nvPr/>
            </p:nvSpPr>
            <p:spPr>
              <a:xfrm rot="16617164">
                <a:off x="-280759" y="2629710"/>
                <a:ext cx="3551344" cy="927991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0">
                    <a:srgbClr val="86A4D4">
                      <a:alpha val="20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6" name="任意多边形 25"/>
              <p:cNvSpPr/>
              <p:nvPr/>
            </p:nvSpPr>
            <p:spPr>
              <a:xfrm rot="5131813">
                <a:off x="9063400" y="2686989"/>
                <a:ext cx="3551344" cy="927991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0">
                    <a:srgbClr val="86A4D4">
                      <a:alpha val="20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27" name="花4"/>
            <p:cNvGrpSpPr/>
            <p:nvPr/>
          </p:nvGrpSpPr>
          <p:grpSpPr>
            <a:xfrm>
              <a:off x="-5343060" y="-3962027"/>
              <a:ext cx="22838079" cy="13375101"/>
              <a:chOff x="-5343060" y="-4080015"/>
              <a:chExt cx="22838079" cy="13375101"/>
            </a:xfrm>
          </p:grpSpPr>
          <p:sp>
            <p:nvSpPr>
              <p:cNvPr id="28" name="任意多边形 27"/>
              <p:cNvSpPr/>
              <p:nvPr/>
            </p:nvSpPr>
            <p:spPr>
              <a:xfrm rot="20648648">
                <a:off x="2646809" y="-3991015"/>
                <a:ext cx="3586635" cy="1190746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31000">
                    <a:srgbClr val="5AF878">
                      <a:alpha val="15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9" name="任意多边形 28"/>
              <p:cNvSpPr/>
              <p:nvPr/>
            </p:nvSpPr>
            <p:spPr>
              <a:xfrm rot="1075034">
                <a:off x="6054006" y="-4080015"/>
                <a:ext cx="3586635" cy="1190746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31000">
                    <a:srgbClr val="5AF878">
                      <a:alpha val="25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0" name="任意多边形 29"/>
              <p:cNvSpPr/>
              <p:nvPr/>
            </p:nvSpPr>
            <p:spPr>
              <a:xfrm rot="2492382">
                <a:off x="8262931" y="-2612376"/>
                <a:ext cx="3586635" cy="1190746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31000">
                    <a:srgbClr val="09D1AB">
                      <a:alpha val="15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1" name="任意多边形 30"/>
              <p:cNvSpPr/>
              <p:nvPr/>
            </p:nvSpPr>
            <p:spPr>
              <a:xfrm rot="18948373">
                <a:off x="216173" y="-2612374"/>
                <a:ext cx="3586635" cy="1190746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31000">
                    <a:srgbClr val="09D1AB">
                      <a:alpha val="15000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2" name="任意多边形 31"/>
              <p:cNvSpPr/>
              <p:nvPr/>
            </p:nvSpPr>
            <p:spPr>
              <a:xfrm rot="4080311">
                <a:off x="9747971" y="-477004"/>
                <a:ext cx="3586635" cy="1190746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31000">
                    <a:srgbClr val="0A80D0">
                      <a:alpha val="14902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3" name="任意多边形 32"/>
              <p:cNvSpPr/>
              <p:nvPr/>
            </p:nvSpPr>
            <p:spPr>
              <a:xfrm rot="17262051">
                <a:off x="-1182648" y="-62449"/>
                <a:ext cx="3586635" cy="11907460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gradFill>
                <a:gsLst>
                  <a:gs pos="31000">
                    <a:srgbClr val="0A80D0">
                      <a:alpha val="14902"/>
                    </a:srgbClr>
                  </a:gs>
                  <a:gs pos="100000">
                    <a:srgbClr val="6E7DC3">
                      <a:alpha val="50000"/>
                    </a:srgb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34" name="组合 33"/>
            <p:cNvGrpSpPr/>
            <p:nvPr/>
          </p:nvGrpSpPr>
          <p:grpSpPr>
            <a:xfrm>
              <a:off x="2993439" y="4630880"/>
              <a:ext cx="6171429" cy="3725279"/>
              <a:chOff x="2993439" y="4630880"/>
              <a:chExt cx="6171429" cy="3725279"/>
            </a:xfrm>
          </p:grpSpPr>
          <p:sp>
            <p:nvSpPr>
              <p:cNvPr id="35" name="任意多边形 34"/>
              <p:cNvSpPr/>
              <p:nvPr/>
            </p:nvSpPr>
            <p:spPr>
              <a:xfrm>
                <a:off x="5805166" y="4630880"/>
                <a:ext cx="595327" cy="3357947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solidFill>
                <a:schemeClr val="bg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6" name="任意多边形 35"/>
              <p:cNvSpPr/>
              <p:nvPr/>
            </p:nvSpPr>
            <p:spPr>
              <a:xfrm rot="1072922">
                <a:off x="6319816" y="4729971"/>
                <a:ext cx="595327" cy="3357947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solidFill>
                <a:schemeClr val="bg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7" name="任意多边形 36"/>
              <p:cNvSpPr/>
              <p:nvPr/>
            </p:nvSpPr>
            <p:spPr>
              <a:xfrm rot="20479144">
                <a:off x="5292991" y="4751348"/>
                <a:ext cx="595327" cy="3357947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solidFill>
                <a:schemeClr val="bg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8" name="任意多边形 37"/>
              <p:cNvSpPr/>
              <p:nvPr/>
            </p:nvSpPr>
            <p:spPr>
              <a:xfrm rot="1888215">
                <a:off x="6682185" y="4992537"/>
                <a:ext cx="595327" cy="3357947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solidFill>
                <a:schemeClr val="bg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9" name="任意多边形 38"/>
              <p:cNvSpPr/>
              <p:nvPr/>
            </p:nvSpPr>
            <p:spPr>
              <a:xfrm rot="19502102">
                <a:off x="4898947" y="4998212"/>
                <a:ext cx="595327" cy="3357947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solidFill>
                <a:schemeClr val="bg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0" name="任意多边形 39"/>
              <p:cNvSpPr/>
              <p:nvPr/>
            </p:nvSpPr>
            <p:spPr>
              <a:xfrm rot="2750473">
                <a:off x="6921793" y="5260766"/>
                <a:ext cx="595327" cy="3357947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solidFill>
                <a:schemeClr val="bg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1" name="任意多边形 40"/>
              <p:cNvSpPr/>
              <p:nvPr/>
            </p:nvSpPr>
            <p:spPr>
              <a:xfrm rot="3552967">
                <a:off x="7188231" y="5502371"/>
                <a:ext cx="595327" cy="3357947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solidFill>
                <a:schemeClr val="bg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2" name="任意多边形 41"/>
              <p:cNvSpPr/>
              <p:nvPr/>
            </p:nvSpPr>
            <p:spPr>
              <a:xfrm rot="18615097">
                <a:off x="4571391" y="5292408"/>
                <a:ext cx="595327" cy="3357947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solidFill>
                <a:schemeClr val="bg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3" name="任意多边形 42"/>
              <p:cNvSpPr/>
              <p:nvPr/>
            </p:nvSpPr>
            <p:spPr>
              <a:xfrm rot="17950328">
                <a:off x="4374749" y="5584427"/>
                <a:ext cx="595327" cy="3357947"/>
              </a:xfrm>
              <a:custGeom>
                <a:avLst/>
                <a:gdLst>
                  <a:gd name="connsiteX0" fmla="*/ 1007807 w 2015614"/>
                  <a:gd name="connsiteY0" fmla="*/ 0 h 4367958"/>
                  <a:gd name="connsiteX1" fmla="*/ 1173272 w 2015614"/>
                  <a:gd name="connsiteY1" fmla="*/ 150385 h 4367958"/>
                  <a:gd name="connsiteX2" fmla="*/ 2015614 w 2015614"/>
                  <a:gd name="connsiteY2" fmla="*/ 2183979 h 4367958"/>
                  <a:gd name="connsiteX3" fmla="*/ 1173272 w 2015614"/>
                  <a:gd name="connsiteY3" fmla="*/ 4217573 h 4367958"/>
                  <a:gd name="connsiteX4" fmla="*/ 1007808 w 2015614"/>
                  <a:gd name="connsiteY4" fmla="*/ 4367958 h 4367958"/>
                  <a:gd name="connsiteX5" fmla="*/ 842342 w 2015614"/>
                  <a:gd name="connsiteY5" fmla="*/ 4217572 h 4367958"/>
                  <a:gd name="connsiteX6" fmla="*/ 0 w 2015614"/>
                  <a:gd name="connsiteY6" fmla="*/ 2183978 h 4367958"/>
                  <a:gd name="connsiteX7" fmla="*/ 842342 w 2015614"/>
                  <a:gd name="connsiteY7" fmla="*/ 150384 h 4367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5614" h="4367958">
                    <a:moveTo>
                      <a:pt x="1007807" y="0"/>
                    </a:moveTo>
                    <a:lnTo>
                      <a:pt x="1173272" y="150385"/>
                    </a:lnTo>
                    <a:cubicBezTo>
                      <a:pt x="1693714" y="670827"/>
                      <a:pt x="2015614" y="1389811"/>
                      <a:pt x="2015614" y="2183979"/>
                    </a:cubicBezTo>
                    <a:cubicBezTo>
                      <a:pt x="2015614" y="2978147"/>
                      <a:pt x="1693714" y="3697131"/>
                      <a:pt x="1173272" y="4217573"/>
                    </a:cubicBezTo>
                    <a:lnTo>
                      <a:pt x="1007808" y="4367958"/>
                    </a:lnTo>
                    <a:lnTo>
                      <a:pt x="842342" y="4217572"/>
                    </a:lnTo>
                    <a:cubicBezTo>
                      <a:pt x="321900" y="3697130"/>
                      <a:pt x="0" y="2978146"/>
                      <a:pt x="0" y="2183978"/>
                    </a:cubicBezTo>
                    <a:cubicBezTo>
                      <a:pt x="0" y="1389810"/>
                      <a:pt x="321900" y="670826"/>
                      <a:pt x="842342" y="150384"/>
                    </a:cubicBezTo>
                    <a:close/>
                  </a:path>
                </a:pathLst>
              </a:custGeom>
              <a:solidFill>
                <a:schemeClr val="bg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45" name="文本框 44"/>
          <p:cNvSpPr txBox="1"/>
          <p:nvPr/>
        </p:nvSpPr>
        <p:spPr>
          <a:xfrm>
            <a:off x="3151528" y="2617462"/>
            <a:ext cx="598113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600" b="1" dirty="0" smtClean="0">
                <a:solidFill>
                  <a:schemeClr val="bg1"/>
                </a:solidFill>
                <a:latin typeface="方正兰亭超细黑简体" panose="02000000000000000000" pitchFamily="2" charset="-122"/>
                <a:ea typeface="方正兰亭超细黑简体" panose="02000000000000000000" pitchFamily="2" charset="-122"/>
              </a:rPr>
              <a:t>THANKS</a:t>
            </a:r>
            <a:endParaRPr lang="zh-CN" altLang="en-US" sz="9600" b="1" dirty="0">
              <a:solidFill>
                <a:schemeClr val="bg1"/>
              </a:solidFill>
              <a:latin typeface="方正兰亭超细黑简体" panose="02000000000000000000" pitchFamily="2" charset="-122"/>
              <a:ea typeface="方正兰亭超细黑简体" panose="02000000000000000000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63388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XHXEgriESkzCI9Z.GdM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SkyE2szUi5LMhUx1aeN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RpDzb5Kka4dYjxJBY64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s_FWwmlkCcZ_eIcRphP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tnrqFs0kCjPrunjKxdh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YfUAZPh0iExjjvC3COm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tV4Jsf2U.kwxRiLpnI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RVXOAH40i86.P8hwgJ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ff2WJdikCDOjKbhmOl.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d6uimMMEGfKz2kSZRz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HZnV4kqkWd9S_I8Cgf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g9JFDUwUCVXjGBu54H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Lywr5tcUCK7ckztBpM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rb0hhayUmcKD09avYJ6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.uc8wtAEKBXLV3t52_b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wUN_Y5ekidSxYly3Id2A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微笑PPT - 小A">
  <a:themeElements>
    <a:clrScheme name="微笑PPT - 小A 1">
      <a:dk1>
        <a:srgbClr val="000000"/>
      </a:dk1>
      <a:lt1>
        <a:srgbClr val="FFFFFF"/>
      </a:lt1>
      <a:dk2>
        <a:srgbClr val="FFFFFF"/>
      </a:dk2>
      <a:lt2>
        <a:srgbClr val="B2B2B2"/>
      </a:lt2>
      <a:accent1>
        <a:srgbClr val="E20000"/>
      </a:accent1>
      <a:accent2>
        <a:srgbClr val="CC0000"/>
      </a:accent2>
      <a:accent3>
        <a:srgbClr val="FFFFFF"/>
      </a:accent3>
      <a:accent4>
        <a:srgbClr val="000000"/>
      </a:accent4>
      <a:accent5>
        <a:srgbClr val="EEAAAA"/>
      </a:accent5>
      <a:accent6>
        <a:srgbClr val="B90000"/>
      </a:accent6>
      <a:hlink>
        <a:srgbClr val="800000"/>
      </a:hlink>
      <a:folHlink>
        <a:srgbClr val="FFCC00"/>
      </a:folHlink>
    </a:clrScheme>
    <a:fontScheme name="微笑PPT - 小A">
      <a:majorFont>
        <a:latin typeface="Arial"/>
        <a:ea typeface="微软雅黑"/>
        <a:cs typeface="宋体"/>
      </a:majorFont>
      <a:minorFont>
        <a:latin typeface="Arial"/>
        <a:ea typeface="微软雅黑"/>
        <a:cs typeface="宋体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华文细黑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华文细黑" pitchFamily="2" charset="-122"/>
          </a:defRPr>
        </a:defPPr>
      </a:lstStyle>
    </a:lnDef>
  </a:objectDefaults>
  <a:extraClrSchemeLst>
    <a:extraClrScheme>
      <a:clrScheme name="微笑PPT - 小A 1">
        <a:dk1>
          <a:srgbClr val="000000"/>
        </a:dk1>
        <a:lt1>
          <a:srgbClr val="FFFFFF"/>
        </a:lt1>
        <a:dk2>
          <a:srgbClr val="FFFFFF"/>
        </a:dk2>
        <a:lt2>
          <a:srgbClr val="B2B2B2"/>
        </a:lt2>
        <a:accent1>
          <a:srgbClr val="E20000"/>
        </a:accent1>
        <a:accent2>
          <a:srgbClr val="CC0000"/>
        </a:accent2>
        <a:accent3>
          <a:srgbClr val="FFFFFF"/>
        </a:accent3>
        <a:accent4>
          <a:srgbClr val="000000"/>
        </a:accent4>
        <a:accent5>
          <a:srgbClr val="EEAAAA"/>
        </a:accent5>
        <a:accent6>
          <a:srgbClr val="B90000"/>
        </a:accent6>
        <a:hlink>
          <a:srgbClr val="800000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17</TotalTime>
  <Words>270</Words>
  <Application>Microsoft Office PowerPoint</Application>
  <PresentationFormat>自定义</PresentationFormat>
  <Paragraphs>59</Paragraphs>
  <Slides>8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8" baseType="lpstr">
      <vt:lpstr>Arial</vt:lpstr>
      <vt:lpstr>宋体</vt:lpstr>
      <vt:lpstr>Calibri</vt:lpstr>
      <vt:lpstr>方正兰亭超细黑简体</vt:lpstr>
      <vt:lpstr>Wingdings</vt:lpstr>
      <vt:lpstr>微软雅黑</vt:lpstr>
      <vt:lpstr>Calibri Light</vt:lpstr>
      <vt:lpstr>Office 主题</vt:lpstr>
      <vt:lpstr>微笑PPT - 小A</vt:lpstr>
      <vt:lpstr>Bitmap Imag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Microsoft 帐户</dc:creator>
  <cp:lastModifiedBy>Devil.H</cp:lastModifiedBy>
  <cp:revision>119</cp:revision>
  <dcterms:created xsi:type="dcterms:W3CDTF">2015-03-01T01:28:44Z</dcterms:created>
  <dcterms:modified xsi:type="dcterms:W3CDTF">2016-03-13T07:54:22Z</dcterms:modified>
</cp:coreProperties>
</file>